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341" r:id="rId2"/>
    <p:sldId id="325" r:id="rId3"/>
    <p:sldId id="273" r:id="rId4"/>
    <p:sldId id="356" r:id="rId5"/>
    <p:sldId id="366" r:id="rId6"/>
    <p:sldId id="360" r:id="rId7"/>
    <p:sldId id="358" r:id="rId8"/>
    <p:sldId id="361" r:id="rId9"/>
    <p:sldId id="363" r:id="rId10"/>
    <p:sldId id="364" r:id="rId11"/>
    <p:sldId id="323" r:id="rId12"/>
    <p:sldId id="257" r:id="rId13"/>
    <p:sldId id="362"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ena Zaher" initials="LZ" lastIdx="12" clrIdx="0">
    <p:extLst>
      <p:ext uri="{19B8F6BF-5375-455C-9EA6-DF929625EA0E}">
        <p15:presenceInfo xmlns:p15="http://schemas.microsoft.com/office/powerpoint/2012/main" userId="S-1-5-21-4167451609-1595019050-720736648-18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5E5E"/>
    <a:srgbClr val="FFF2CC"/>
    <a:srgbClr val="F3FFEB"/>
    <a:srgbClr val="E0FECC"/>
    <a:srgbClr val="DEFABC"/>
    <a:srgbClr val="44C503"/>
    <a:srgbClr val="70AD47"/>
    <a:srgbClr val="EFF5FB"/>
    <a:srgbClr val="FDF0E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49" autoAdjust="0"/>
    <p:restoredTop sz="76543" autoAdjust="0"/>
  </p:normalViewPr>
  <p:slideViewPr>
    <p:cSldViewPr snapToGrid="0">
      <p:cViewPr varScale="1">
        <p:scale>
          <a:sx n="95" d="100"/>
          <a:sy n="95" d="100"/>
        </p:scale>
        <p:origin x="96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B5CD55-B956-9046-B66C-82CF3D1D22AC}" type="doc">
      <dgm:prSet loTypeId="urn:microsoft.com/office/officeart/2008/layout/AlternatingHexagons" loCatId="" qsTypeId="urn:microsoft.com/office/officeart/2005/8/quickstyle/simple5" qsCatId="simple" csTypeId="urn:microsoft.com/office/officeart/2005/8/colors/colorful5" csCatId="colorful" phldr="1"/>
      <dgm:spPr/>
      <dgm:t>
        <a:bodyPr/>
        <a:lstStyle/>
        <a:p>
          <a:endParaRPr lang="en-GB"/>
        </a:p>
      </dgm:t>
    </dgm:pt>
    <dgm:pt modelId="{EA3D7E31-E9C5-EB44-9927-D98263C7CBD7}">
      <dgm:prSet phldrT="[Text]" custT="1"/>
      <dgm:spPr/>
      <dgm:t>
        <a:bodyPr/>
        <a:lstStyle/>
        <a:p>
          <a:pPr rtl="0"/>
          <a:endParaRPr lang="en-GB" sz="1200" dirty="0"/>
        </a:p>
      </dgm:t>
    </dgm:pt>
    <dgm:pt modelId="{B4195E73-5F82-D547-960A-8F955C4681AD}" type="parTrans" cxnId="{A8A5AF68-9318-D144-AFCC-35007069CD87}">
      <dgm:prSet/>
      <dgm:spPr/>
      <dgm:t>
        <a:bodyPr/>
        <a:lstStyle/>
        <a:p>
          <a:endParaRPr lang="en-GB"/>
        </a:p>
      </dgm:t>
    </dgm:pt>
    <dgm:pt modelId="{28BF45A0-4BEF-F843-9619-6042F4F83B1F}" type="sibTrans" cxnId="{A8A5AF68-9318-D144-AFCC-35007069CD87}">
      <dgm:prSet/>
      <dgm:spPr/>
      <dgm:t>
        <a:bodyPr/>
        <a:lstStyle/>
        <a:p>
          <a:pPr rtl="0"/>
          <a:endParaRPr lang="en-GB"/>
        </a:p>
      </dgm:t>
    </dgm:pt>
    <dgm:pt modelId="{A771D9A0-717D-4F4A-A16E-CD47BDB46951}">
      <dgm:prSet phldrT="[Text]"/>
      <dgm:spPr/>
      <dgm:t>
        <a:bodyPr/>
        <a:lstStyle/>
        <a:p>
          <a:pPr rtl="0"/>
          <a:endParaRPr lang="en-GB" dirty="0"/>
        </a:p>
      </dgm:t>
    </dgm:pt>
    <dgm:pt modelId="{DB86EE00-D066-E64A-83FD-60C95D9347CE}" type="parTrans" cxnId="{3AAB912D-2836-DA49-B614-F711815DFA55}">
      <dgm:prSet/>
      <dgm:spPr/>
      <dgm:t>
        <a:bodyPr/>
        <a:lstStyle/>
        <a:p>
          <a:endParaRPr lang="en-GB"/>
        </a:p>
      </dgm:t>
    </dgm:pt>
    <dgm:pt modelId="{EDD66B62-EEFC-6E4F-B00A-AC7737F4BFA9}" type="sibTrans" cxnId="{3AAB912D-2836-DA49-B614-F711815DFA55}">
      <dgm:prSet/>
      <dgm:spPr/>
      <dgm:t>
        <a:bodyPr/>
        <a:lstStyle/>
        <a:p>
          <a:pPr rtl="0"/>
          <a:endParaRPr lang="en-GB"/>
        </a:p>
      </dgm:t>
    </dgm:pt>
    <dgm:pt modelId="{B90B3544-9C1C-4244-86BF-17CE9C2D7FF5}">
      <dgm:prSet phldrT="[Text]"/>
      <dgm:spPr/>
      <dgm:t>
        <a:bodyPr/>
        <a:lstStyle/>
        <a:p>
          <a:pPr rtl="0"/>
          <a:endParaRPr lang="en-GB" dirty="0"/>
        </a:p>
      </dgm:t>
    </dgm:pt>
    <dgm:pt modelId="{1AFF3660-338E-A847-BC10-1BEF6FC7DC72}" type="parTrans" cxnId="{AD39C1CD-7F29-4A42-916D-E54027EF051C}">
      <dgm:prSet/>
      <dgm:spPr/>
      <dgm:t>
        <a:bodyPr/>
        <a:lstStyle/>
        <a:p>
          <a:endParaRPr lang="en-GB"/>
        </a:p>
      </dgm:t>
    </dgm:pt>
    <dgm:pt modelId="{6BF5C9DE-E43F-4E4F-B731-122268C33A78}" type="sibTrans" cxnId="{AD39C1CD-7F29-4A42-916D-E54027EF051C}">
      <dgm:prSet/>
      <dgm:spPr/>
      <dgm:t>
        <a:bodyPr/>
        <a:lstStyle/>
        <a:p>
          <a:pPr rtl="0"/>
          <a:endParaRPr lang="en-GB"/>
        </a:p>
      </dgm:t>
    </dgm:pt>
    <dgm:pt modelId="{8F115B68-A6D8-4B4F-A286-5A361B4F1B66}" type="pres">
      <dgm:prSet presAssocID="{9EB5CD55-B956-9046-B66C-82CF3D1D22AC}" presName="Name0" presStyleCnt="0">
        <dgm:presLayoutVars>
          <dgm:chMax/>
          <dgm:chPref/>
          <dgm:dir/>
          <dgm:animLvl val="lvl"/>
        </dgm:presLayoutVars>
      </dgm:prSet>
      <dgm:spPr/>
    </dgm:pt>
    <dgm:pt modelId="{13BF4321-FF0B-7247-9AD8-C8EBE30CEF58}" type="pres">
      <dgm:prSet presAssocID="{EA3D7E31-E9C5-EB44-9927-D98263C7CBD7}" presName="composite" presStyleCnt="0"/>
      <dgm:spPr/>
    </dgm:pt>
    <dgm:pt modelId="{922BBFC6-3F6A-7844-8153-E3847F3AC34E}" type="pres">
      <dgm:prSet presAssocID="{EA3D7E31-E9C5-EB44-9927-D98263C7CBD7}" presName="Parent1" presStyleLbl="node1" presStyleIdx="0" presStyleCnt="6">
        <dgm:presLayoutVars>
          <dgm:chMax val="1"/>
          <dgm:chPref val="1"/>
          <dgm:bulletEnabled val="1"/>
        </dgm:presLayoutVars>
      </dgm:prSet>
      <dgm:spPr/>
    </dgm:pt>
    <dgm:pt modelId="{81E8C4E4-3C5E-4241-B988-1BF90304D214}" type="pres">
      <dgm:prSet presAssocID="{EA3D7E31-E9C5-EB44-9927-D98263C7CBD7}" presName="Childtext1" presStyleLbl="revTx" presStyleIdx="0" presStyleCnt="3">
        <dgm:presLayoutVars>
          <dgm:chMax val="0"/>
          <dgm:chPref val="0"/>
          <dgm:bulletEnabled val="1"/>
        </dgm:presLayoutVars>
      </dgm:prSet>
      <dgm:spPr/>
    </dgm:pt>
    <dgm:pt modelId="{3353A05A-9AAD-B84F-BD32-36C7E5181ADF}" type="pres">
      <dgm:prSet presAssocID="{EA3D7E31-E9C5-EB44-9927-D98263C7CBD7}" presName="BalanceSpacing" presStyleCnt="0"/>
      <dgm:spPr/>
    </dgm:pt>
    <dgm:pt modelId="{BFA6C16B-C12F-4D47-BE5F-5D275DC967B8}" type="pres">
      <dgm:prSet presAssocID="{EA3D7E31-E9C5-EB44-9927-D98263C7CBD7}" presName="BalanceSpacing1" presStyleCnt="0"/>
      <dgm:spPr/>
    </dgm:pt>
    <dgm:pt modelId="{E605047B-3039-3D41-B675-D1C4293657D1}" type="pres">
      <dgm:prSet presAssocID="{28BF45A0-4BEF-F843-9619-6042F4F83B1F}" presName="Accent1Text" presStyleLbl="node1" presStyleIdx="1" presStyleCnt="6"/>
      <dgm:spPr/>
    </dgm:pt>
    <dgm:pt modelId="{3870282E-AB15-2E42-BAB9-AEED5EC611BE}" type="pres">
      <dgm:prSet presAssocID="{28BF45A0-4BEF-F843-9619-6042F4F83B1F}" presName="spaceBetweenRectangles" presStyleCnt="0"/>
      <dgm:spPr/>
    </dgm:pt>
    <dgm:pt modelId="{121351A8-23FE-1946-B7F7-443485F6E9B7}" type="pres">
      <dgm:prSet presAssocID="{A771D9A0-717D-4F4A-A16E-CD47BDB46951}" presName="composite" presStyleCnt="0"/>
      <dgm:spPr/>
    </dgm:pt>
    <dgm:pt modelId="{93C622EF-5DBC-2242-8FC4-392F2C9AE93B}" type="pres">
      <dgm:prSet presAssocID="{A771D9A0-717D-4F4A-A16E-CD47BDB46951}" presName="Parent1" presStyleLbl="node1" presStyleIdx="2" presStyleCnt="6">
        <dgm:presLayoutVars>
          <dgm:chMax val="1"/>
          <dgm:chPref val="1"/>
          <dgm:bulletEnabled val="1"/>
        </dgm:presLayoutVars>
      </dgm:prSet>
      <dgm:spPr/>
    </dgm:pt>
    <dgm:pt modelId="{A0B11EA4-8735-6747-B2CF-C5251B5A48C6}" type="pres">
      <dgm:prSet presAssocID="{A771D9A0-717D-4F4A-A16E-CD47BDB46951}" presName="Childtext1" presStyleLbl="revTx" presStyleIdx="1" presStyleCnt="3">
        <dgm:presLayoutVars>
          <dgm:chMax val="0"/>
          <dgm:chPref val="0"/>
          <dgm:bulletEnabled val="1"/>
        </dgm:presLayoutVars>
      </dgm:prSet>
      <dgm:spPr/>
    </dgm:pt>
    <dgm:pt modelId="{5BFD6251-1CE6-D441-B136-3287CFE46303}" type="pres">
      <dgm:prSet presAssocID="{A771D9A0-717D-4F4A-A16E-CD47BDB46951}" presName="BalanceSpacing" presStyleCnt="0"/>
      <dgm:spPr/>
    </dgm:pt>
    <dgm:pt modelId="{D7AC7723-F673-5741-A5C6-4C9E1FD046CB}" type="pres">
      <dgm:prSet presAssocID="{A771D9A0-717D-4F4A-A16E-CD47BDB46951}" presName="BalanceSpacing1" presStyleCnt="0"/>
      <dgm:spPr/>
    </dgm:pt>
    <dgm:pt modelId="{80E90F55-1D53-1F49-800A-4D38A6012293}" type="pres">
      <dgm:prSet presAssocID="{EDD66B62-EEFC-6E4F-B00A-AC7737F4BFA9}" presName="Accent1Text" presStyleLbl="node1" presStyleIdx="3" presStyleCnt="6"/>
      <dgm:spPr/>
    </dgm:pt>
    <dgm:pt modelId="{995DEF45-FC9A-5A4C-B227-E1FD5B3018DB}" type="pres">
      <dgm:prSet presAssocID="{EDD66B62-EEFC-6E4F-B00A-AC7737F4BFA9}" presName="spaceBetweenRectangles" presStyleCnt="0"/>
      <dgm:spPr/>
    </dgm:pt>
    <dgm:pt modelId="{84562943-D9A3-5542-BB4A-7E48BA30B681}" type="pres">
      <dgm:prSet presAssocID="{B90B3544-9C1C-4244-86BF-17CE9C2D7FF5}" presName="composite" presStyleCnt="0"/>
      <dgm:spPr/>
    </dgm:pt>
    <dgm:pt modelId="{7E6F3002-49BB-1E4B-9C90-3E54AA8EC233}" type="pres">
      <dgm:prSet presAssocID="{B90B3544-9C1C-4244-86BF-17CE9C2D7FF5}" presName="Parent1" presStyleLbl="node1" presStyleIdx="4" presStyleCnt="6">
        <dgm:presLayoutVars>
          <dgm:chMax val="1"/>
          <dgm:chPref val="1"/>
          <dgm:bulletEnabled val="1"/>
        </dgm:presLayoutVars>
      </dgm:prSet>
      <dgm:spPr/>
    </dgm:pt>
    <dgm:pt modelId="{7A30572B-2B0A-A24D-BE66-830EBA2F18D0}" type="pres">
      <dgm:prSet presAssocID="{B90B3544-9C1C-4244-86BF-17CE9C2D7FF5}" presName="Childtext1" presStyleLbl="revTx" presStyleIdx="2" presStyleCnt="3">
        <dgm:presLayoutVars>
          <dgm:chMax val="0"/>
          <dgm:chPref val="0"/>
          <dgm:bulletEnabled val="1"/>
        </dgm:presLayoutVars>
      </dgm:prSet>
      <dgm:spPr/>
    </dgm:pt>
    <dgm:pt modelId="{4C0201EC-1CEB-9446-92DB-7FA0228714AE}" type="pres">
      <dgm:prSet presAssocID="{B90B3544-9C1C-4244-86BF-17CE9C2D7FF5}" presName="BalanceSpacing" presStyleCnt="0"/>
      <dgm:spPr/>
    </dgm:pt>
    <dgm:pt modelId="{BDFF37A9-EEBD-324B-BC23-65C91C1DEDDE}" type="pres">
      <dgm:prSet presAssocID="{B90B3544-9C1C-4244-86BF-17CE9C2D7FF5}" presName="BalanceSpacing1" presStyleCnt="0"/>
      <dgm:spPr/>
    </dgm:pt>
    <dgm:pt modelId="{4662FADC-93B9-6B43-BF79-BC593444AE2E}" type="pres">
      <dgm:prSet presAssocID="{6BF5C9DE-E43F-4E4F-B731-122268C33A78}" presName="Accent1Text" presStyleLbl="node1" presStyleIdx="5" presStyleCnt="6"/>
      <dgm:spPr/>
    </dgm:pt>
  </dgm:ptLst>
  <dgm:cxnLst>
    <dgm:cxn modelId="{1B72A21C-56DA-4643-AE61-0963664DE691}" type="presOf" srcId="{A771D9A0-717D-4F4A-A16E-CD47BDB46951}" destId="{93C622EF-5DBC-2242-8FC4-392F2C9AE93B}" srcOrd="0" destOrd="0" presId="urn:microsoft.com/office/officeart/2008/layout/AlternatingHexagons"/>
    <dgm:cxn modelId="{3AAB912D-2836-DA49-B614-F711815DFA55}" srcId="{9EB5CD55-B956-9046-B66C-82CF3D1D22AC}" destId="{A771D9A0-717D-4F4A-A16E-CD47BDB46951}" srcOrd="1" destOrd="0" parTransId="{DB86EE00-D066-E64A-83FD-60C95D9347CE}" sibTransId="{EDD66B62-EEFC-6E4F-B00A-AC7737F4BFA9}"/>
    <dgm:cxn modelId="{7CA8313B-1B60-644C-B295-B8849BEFA134}" type="presOf" srcId="{EDD66B62-EEFC-6E4F-B00A-AC7737F4BFA9}" destId="{80E90F55-1D53-1F49-800A-4D38A6012293}" srcOrd="0" destOrd="0" presId="urn:microsoft.com/office/officeart/2008/layout/AlternatingHexagons"/>
    <dgm:cxn modelId="{6621C361-9BDF-E046-BB7C-F7DAA8E673EE}" type="presOf" srcId="{28BF45A0-4BEF-F843-9619-6042F4F83B1F}" destId="{E605047B-3039-3D41-B675-D1C4293657D1}" srcOrd="0" destOrd="0" presId="urn:microsoft.com/office/officeart/2008/layout/AlternatingHexagons"/>
    <dgm:cxn modelId="{A8A5AF68-9318-D144-AFCC-35007069CD87}" srcId="{9EB5CD55-B956-9046-B66C-82CF3D1D22AC}" destId="{EA3D7E31-E9C5-EB44-9927-D98263C7CBD7}" srcOrd="0" destOrd="0" parTransId="{B4195E73-5F82-D547-960A-8F955C4681AD}" sibTransId="{28BF45A0-4BEF-F843-9619-6042F4F83B1F}"/>
    <dgm:cxn modelId="{230C14A5-31B5-2741-A8FF-A6D4381DCDE4}" type="presOf" srcId="{EA3D7E31-E9C5-EB44-9927-D98263C7CBD7}" destId="{922BBFC6-3F6A-7844-8153-E3847F3AC34E}" srcOrd="0" destOrd="0" presId="urn:microsoft.com/office/officeart/2008/layout/AlternatingHexagons"/>
    <dgm:cxn modelId="{A93516B8-F6F2-4E4C-A970-BE8377054034}" type="presOf" srcId="{6BF5C9DE-E43F-4E4F-B731-122268C33A78}" destId="{4662FADC-93B9-6B43-BF79-BC593444AE2E}" srcOrd="0" destOrd="0" presId="urn:microsoft.com/office/officeart/2008/layout/AlternatingHexagons"/>
    <dgm:cxn modelId="{DB7E0CC5-E1C9-2042-9930-04DB526E4335}" type="presOf" srcId="{9EB5CD55-B956-9046-B66C-82CF3D1D22AC}" destId="{8F115B68-A6D8-4B4F-A286-5A361B4F1B66}" srcOrd="0" destOrd="0" presId="urn:microsoft.com/office/officeart/2008/layout/AlternatingHexagons"/>
    <dgm:cxn modelId="{AD39C1CD-7F29-4A42-916D-E54027EF051C}" srcId="{9EB5CD55-B956-9046-B66C-82CF3D1D22AC}" destId="{B90B3544-9C1C-4244-86BF-17CE9C2D7FF5}" srcOrd="2" destOrd="0" parTransId="{1AFF3660-338E-A847-BC10-1BEF6FC7DC72}" sibTransId="{6BF5C9DE-E43F-4E4F-B731-122268C33A78}"/>
    <dgm:cxn modelId="{262461EA-09E8-8241-9D70-9CAE7E5F8B4D}" type="presOf" srcId="{B90B3544-9C1C-4244-86BF-17CE9C2D7FF5}" destId="{7E6F3002-49BB-1E4B-9C90-3E54AA8EC233}" srcOrd="0" destOrd="0" presId="urn:microsoft.com/office/officeart/2008/layout/AlternatingHexagons"/>
    <dgm:cxn modelId="{BE363DB6-A668-174F-B215-2A56EC46A26A}" type="presParOf" srcId="{8F115B68-A6D8-4B4F-A286-5A361B4F1B66}" destId="{13BF4321-FF0B-7247-9AD8-C8EBE30CEF58}" srcOrd="0" destOrd="0" presId="urn:microsoft.com/office/officeart/2008/layout/AlternatingHexagons"/>
    <dgm:cxn modelId="{15198DB4-AD1E-AF4E-9139-44BB9E0A5649}" type="presParOf" srcId="{13BF4321-FF0B-7247-9AD8-C8EBE30CEF58}" destId="{922BBFC6-3F6A-7844-8153-E3847F3AC34E}" srcOrd="0" destOrd="0" presId="urn:microsoft.com/office/officeart/2008/layout/AlternatingHexagons"/>
    <dgm:cxn modelId="{7984A0F7-C08C-0B48-AC6A-B2334923F030}" type="presParOf" srcId="{13BF4321-FF0B-7247-9AD8-C8EBE30CEF58}" destId="{81E8C4E4-3C5E-4241-B988-1BF90304D214}" srcOrd="1" destOrd="0" presId="urn:microsoft.com/office/officeart/2008/layout/AlternatingHexagons"/>
    <dgm:cxn modelId="{FA3073B8-1F77-674A-B470-08F4A2C331A7}" type="presParOf" srcId="{13BF4321-FF0B-7247-9AD8-C8EBE30CEF58}" destId="{3353A05A-9AAD-B84F-BD32-36C7E5181ADF}" srcOrd="2" destOrd="0" presId="urn:microsoft.com/office/officeart/2008/layout/AlternatingHexagons"/>
    <dgm:cxn modelId="{210D4C73-14F8-404F-8FE5-58D889283228}" type="presParOf" srcId="{13BF4321-FF0B-7247-9AD8-C8EBE30CEF58}" destId="{BFA6C16B-C12F-4D47-BE5F-5D275DC967B8}" srcOrd="3" destOrd="0" presId="urn:microsoft.com/office/officeart/2008/layout/AlternatingHexagons"/>
    <dgm:cxn modelId="{177FBDAE-71C0-704C-82ED-07B2D08E1084}" type="presParOf" srcId="{13BF4321-FF0B-7247-9AD8-C8EBE30CEF58}" destId="{E605047B-3039-3D41-B675-D1C4293657D1}" srcOrd="4" destOrd="0" presId="urn:microsoft.com/office/officeart/2008/layout/AlternatingHexagons"/>
    <dgm:cxn modelId="{59136B84-0CDC-764B-BD82-512FFD031BF0}" type="presParOf" srcId="{8F115B68-A6D8-4B4F-A286-5A361B4F1B66}" destId="{3870282E-AB15-2E42-BAB9-AEED5EC611BE}" srcOrd="1" destOrd="0" presId="urn:microsoft.com/office/officeart/2008/layout/AlternatingHexagons"/>
    <dgm:cxn modelId="{A4DC4193-5FFB-1348-ACA2-3031E68E219A}" type="presParOf" srcId="{8F115B68-A6D8-4B4F-A286-5A361B4F1B66}" destId="{121351A8-23FE-1946-B7F7-443485F6E9B7}" srcOrd="2" destOrd="0" presId="urn:microsoft.com/office/officeart/2008/layout/AlternatingHexagons"/>
    <dgm:cxn modelId="{6AFCC729-029B-C848-928C-CCAE6AAF7A1C}" type="presParOf" srcId="{121351A8-23FE-1946-B7F7-443485F6E9B7}" destId="{93C622EF-5DBC-2242-8FC4-392F2C9AE93B}" srcOrd="0" destOrd="0" presId="urn:microsoft.com/office/officeart/2008/layout/AlternatingHexagons"/>
    <dgm:cxn modelId="{B845745C-F0E5-6E4F-B023-DDB02CE7CD4D}" type="presParOf" srcId="{121351A8-23FE-1946-B7F7-443485F6E9B7}" destId="{A0B11EA4-8735-6747-B2CF-C5251B5A48C6}" srcOrd="1" destOrd="0" presId="urn:microsoft.com/office/officeart/2008/layout/AlternatingHexagons"/>
    <dgm:cxn modelId="{7CB5AB0C-DE10-A94A-939F-4F5497E2BBCC}" type="presParOf" srcId="{121351A8-23FE-1946-B7F7-443485F6E9B7}" destId="{5BFD6251-1CE6-D441-B136-3287CFE46303}" srcOrd="2" destOrd="0" presId="urn:microsoft.com/office/officeart/2008/layout/AlternatingHexagons"/>
    <dgm:cxn modelId="{1D45DEA8-E730-E747-B3F1-4F85690FA03B}" type="presParOf" srcId="{121351A8-23FE-1946-B7F7-443485F6E9B7}" destId="{D7AC7723-F673-5741-A5C6-4C9E1FD046CB}" srcOrd="3" destOrd="0" presId="urn:microsoft.com/office/officeart/2008/layout/AlternatingHexagons"/>
    <dgm:cxn modelId="{BF36CF06-C3B6-FA43-839C-DDDFFFF6BBAF}" type="presParOf" srcId="{121351A8-23FE-1946-B7F7-443485F6E9B7}" destId="{80E90F55-1D53-1F49-800A-4D38A6012293}" srcOrd="4" destOrd="0" presId="urn:microsoft.com/office/officeart/2008/layout/AlternatingHexagons"/>
    <dgm:cxn modelId="{66298A9D-6343-4C43-A835-A2075A9FA82C}" type="presParOf" srcId="{8F115B68-A6D8-4B4F-A286-5A361B4F1B66}" destId="{995DEF45-FC9A-5A4C-B227-E1FD5B3018DB}" srcOrd="3" destOrd="0" presId="urn:microsoft.com/office/officeart/2008/layout/AlternatingHexagons"/>
    <dgm:cxn modelId="{31AE5943-5EBE-CC48-8235-30DBBBFCB6D8}" type="presParOf" srcId="{8F115B68-A6D8-4B4F-A286-5A361B4F1B66}" destId="{84562943-D9A3-5542-BB4A-7E48BA30B681}" srcOrd="4" destOrd="0" presId="urn:microsoft.com/office/officeart/2008/layout/AlternatingHexagons"/>
    <dgm:cxn modelId="{A341A7F3-F971-124D-BD26-C7C9AFE3673A}" type="presParOf" srcId="{84562943-D9A3-5542-BB4A-7E48BA30B681}" destId="{7E6F3002-49BB-1E4B-9C90-3E54AA8EC233}" srcOrd="0" destOrd="0" presId="urn:microsoft.com/office/officeart/2008/layout/AlternatingHexagons"/>
    <dgm:cxn modelId="{DF402592-48CE-6B47-8495-BF0031030517}" type="presParOf" srcId="{84562943-D9A3-5542-BB4A-7E48BA30B681}" destId="{7A30572B-2B0A-A24D-BE66-830EBA2F18D0}" srcOrd="1" destOrd="0" presId="urn:microsoft.com/office/officeart/2008/layout/AlternatingHexagons"/>
    <dgm:cxn modelId="{609FB838-C647-C446-AA0C-31E377FC1A27}" type="presParOf" srcId="{84562943-D9A3-5542-BB4A-7E48BA30B681}" destId="{4C0201EC-1CEB-9446-92DB-7FA0228714AE}" srcOrd="2" destOrd="0" presId="urn:microsoft.com/office/officeart/2008/layout/AlternatingHexagons"/>
    <dgm:cxn modelId="{B71C4C5B-0ED2-8640-A85B-BA05AE8641EC}" type="presParOf" srcId="{84562943-D9A3-5542-BB4A-7E48BA30B681}" destId="{BDFF37A9-EEBD-324B-BC23-65C91C1DEDDE}" srcOrd="3" destOrd="0" presId="urn:microsoft.com/office/officeart/2008/layout/AlternatingHexagons"/>
    <dgm:cxn modelId="{DEA16BBC-B185-9649-8181-EC87B2D05185}" type="presParOf" srcId="{84562943-D9A3-5542-BB4A-7E48BA30B681}" destId="{4662FADC-93B9-6B43-BF79-BC593444AE2E}" srcOrd="4" destOrd="0" presId="urn:microsoft.com/office/officeart/2008/layout/AlternatingHexagons"/>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F2090B4-EDED-3C41-94C2-380AE424BDC1}" type="doc">
      <dgm:prSet loTypeId="urn:microsoft.com/office/officeart/2005/8/layout/venn1" loCatId="" qsTypeId="urn:microsoft.com/office/officeart/2005/8/quickstyle/3d1" qsCatId="3D" csTypeId="urn:microsoft.com/office/officeart/2005/8/colors/colorful4" csCatId="colorful" phldr="1"/>
      <dgm:spPr/>
    </dgm:pt>
    <dgm:pt modelId="{C0A38931-928B-3D48-937F-36A0290F3FFF}">
      <dgm:prSet phldrT="[Text]" custT="1"/>
      <dgm:spPr/>
      <dgm:t>
        <a:bodyPr/>
        <a:lstStyle/>
        <a:p>
          <a:r>
            <a:rPr lang="en-US" sz="2000" b="1" dirty="0"/>
            <a:t>Students shows academic growth</a:t>
          </a:r>
        </a:p>
        <a:p>
          <a:endParaRPr lang="en-US" sz="2000" dirty="0"/>
        </a:p>
      </dgm:t>
    </dgm:pt>
    <dgm:pt modelId="{59EBA2E2-2677-864B-8C8D-3FCEE76BBF54}" type="parTrans" cxnId="{CEC94396-A2B0-6A4F-A1C6-596648ADA02A}">
      <dgm:prSet/>
      <dgm:spPr/>
      <dgm:t>
        <a:bodyPr/>
        <a:lstStyle/>
        <a:p>
          <a:endParaRPr lang="en-GB"/>
        </a:p>
      </dgm:t>
    </dgm:pt>
    <dgm:pt modelId="{80A88DC9-DD18-F94E-9876-E922B858C76E}" type="sibTrans" cxnId="{CEC94396-A2B0-6A4F-A1C6-596648ADA02A}">
      <dgm:prSet/>
      <dgm:spPr/>
      <dgm:t>
        <a:bodyPr/>
        <a:lstStyle/>
        <a:p>
          <a:endParaRPr lang="en-GB"/>
        </a:p>
      </dgm:t>
    </dgm:pt>
    <dgm:pt modelId="{F8DAF0DB-9C94-8947-BB18-8BF3B5231D6E}">
      <dgm:prSet phldrT="[Text]" custT="1"/>
      <dgm:spPr/>
      <dgm:t>
        <a:bodyPr/>
        <a:lstStyle/>
        <a:p>
          <a:r>
            <a:rPr lang="en-US" sz="1800" b="1" dirty="0"/>
            <a:t>Improved social emotional learning</a:t>
          </a:r>
          <a:endParaRPr lang="en-GB" sz="1800" dirty="0"/>
        </a:p>
      </dgm:t>
    </dgm:pt>
    <dgm:pt modelId="{9C1A053F-7D63-E549-A1C9-DCC0DA8AF4FA}" type="parTrans" cxnId="{F2A8B723-DE19-0344-9878-265DC0DE5E97}">
      <dgm:prSet/>
      <dgm:spPr/>
      <dgm:t>
        <a:bodyPr/>
        <a:lstStyle/>
        <a:p>
          <a:endParaRPr lang="en-GB"/>
        </a:p>
      </dgm:t>
    </dgm:pt>
    <dgm:pt modelId="{004211BB-F8F1-8449-97D2-B33C2F2CFFC4}" type="sibTrans" cxnId="{F2A8B723-DE19-0344-9878-265DC0DE5E97}">
      <dgm:prSet/>
      <dgm:spPr/>
      <dgm:t>
        <a:bodyPr/>
        <a:lstStyle/>
        <a:p>
          <a:endParaRPr lang="en-GB"/>
        </a:p>
      </dgm:t>
    </dgm:pt>
    <dgm:pt modelId="{FF6D7FDE-4835-E34E-B368-28F6C487AA42}">
      <dgm:prSet phldrT="[Text]" custT="1"/>
      <dgm:spPr/>
      <dgm:t>
        <a:bodyPr/>
        <a:lstStyle/>
        <a:p>
          <a:pPr rtl="0"/>
          <a:r>
            <a:rPr lang="en-GB" sz="2000" b="1" dirty="0"/>
            <a:t>Improved 21</a:t>
          </a:r>
          <a:r>
            <a:rPr lang="en-GB" sz="2000" b="1" baseline="30000" dirty="0"/>
            <a:t>st</a:t>
          </a:r>
          <a:r>
            <a:rPr lang="en-GB" sz="2000" b="1" dirty="0"/>
            <a:t> Century Skills</a:t>
          </a:r>
        </a:p>
      </dgm:t>
    </dgm:pt>
    <dgm:pt modelId="{07B95690-6A35-1B4A-8D3B-A8143F8A7491}" type="parTrans" cxnId="{16F90896-2EEE-B54D-B438-758BFF9C5A9A}">
      <dgm:prSet/>
      <dgm:spPr/>
      <dgm:t>
        <a:bodyPr/>
        <a:lstStyle/>
        <a:p>
          <a:endParaRPr lang="en-GB"/>
        </a:p>
      </dgm:t>
    </dgm:pt>
    <dgm:pt modelId="{5652F475-8824-7B41-909C-08A303E12BF3}" type="sibTrans" cxnId="{16F90896-2EEE-B54D-B438-758BFF9C5A9A}">
      <dgm:prSet/>
      <dgm:spPr/>
      <dgm:t>
        <a:bodyPr/>
        <a:lstStyle/>
        <a:p>
          <a:endParaRPr lang="en-GB"/>
        </a:p>
      </dgm:t>
    </dgm:pt>
    <dgm:pt modelId="{0EE5553C-49E5-4C43-8DCE-C3554888990F}" type="pres">
      <dgm:prSet presAssocID="{CF2090B4-EDED-3C41-94C2-380AE424BDC1}" presName="compositeShape" presStyleCnt="0">
        <dgm:presLayoutVars>
          <dgm:chMax val="7"/>
          <dgm:dir/>
          <dgm:resizeHandles val="exact"/>
        </dgm:presLayoutVars>
      </dgm:prSet>
      <dgm:spPr/>
    </dgm:pt>
    <dgm:pt modelId="{0BEB45F8-E804-3C4E-8492-622243C8EF05}" type="pres">
      <dgm:prSet presAssocID="{C0A38931-928B-3D48-937F-36A0290F3FFF}" presName="circ1" presStyleLbl="vennNode1" presStyleIdx="0" presStyleCnt="3"/>
      <dgm:spPr/>
    </dgm:pt>
    <dgm:pt modelId="{5DC5F8C2-81C6-A546-84DD-2AC336637821}" type="pres">
      <dgm:prSet presAssocID="{C0A38931-928B-3D48-937F-36A0290F3FFF}" presName="circ1Tx" presStyleLbl="revTx" presStyleIdx="0" presStyleCnt="0">
        <dgm:presLayoutVars>
          <dgm:chMax val="0"/>
          <dgm:chPref val="0"/>
          <dgm:bulletEnabled val="1"/>
        </dgm:presLayoutVars>
      </dgm:prSet>
      <dgm:spPr/>
    </dgm:pt>
    <dgm:pt modelId="{3DAB186D-09F3-334A-83F2-E124A448D653}" type="pres">
      <dgm:prSet presAssocID="{F8DAF0DB-9C94-8947-BB18-8BF3B5231D6E}" presName="circ2" presStyleLbl="vennNode1" presStyleIdx="1" presStyleCnt="3"/>
      <dgm:spPr/>
    </dgm:pt>
    <dgm:pt modelId="{546D3249-EEE3-0641-9F35-D480D48856A7}" type="pres">
      <dgm:prSet presAssocID="{F8DAF0DB-9C94-8947-BB18-8BF3B5231D6E}" presName="circ2Tx" presStyleLbl="revTx" presStyleIdx="0" presStyleCnt="0">
        <dgm:presLayoutVars>
          <dgm:chMax val="0"/>
          <dgm:chPref val="0"/>
          <dgm:bulletEnabled val="1"/>
        </dgm:presLayoutVars>
      </dgm:prSet>
      <dgm:spPr/>
    </dgm:pt>
    <dgm:pt modelId="{D4276E17-6DE2-C049-BC82-FBA87D372BD8}" type="pres">
      <dgm:prSet presAssocID="{FF6D7FDE-4835-E34E-B368-28F6C487AA42}" presName="circ3" presStyleLbl="vennNode1" presStyleIdx="2" presStyleCnt="3"/>
      <dgm:spPr/>
    </dgm:pt>
    <dgm:pt modelId="{E26448A0-39E9-0E40-BCD4-66A1E3FBCD3C}" type="pres">
      <dgm:prSet presAssocID="{FF6D7FDE-4835-E34E-B368-28F6C487AA42}" presName="circ3Tx" presStyleLbl="revTx" presStyleIdx="0" presStyleCnt="0">
        <dgm:presLayoutVars>
          <dgm:chMax val="0"/>
          <dgm:chPref val="0"/>
          <dgm:bulletEnabled val="1"/>
        </dgm:presLayoutVars>
      </dgm:prSet>
      <dgm:spPr/>
    </dgm:pt>
  </dgm:ptLst>
  <dgm:cxnLst>
    <dgm:cxn modelId="{DA24D008-316A-0841-A7E8-56BA6F503306}" type="presOf" srcId="{CF2090B4-EDED-3C41-94C2-380AE424BDC1}" destId="{0EE5553C-49E5-4C43-8DCE-C3554888990F}" srcOrd="0" destOrd="0" presId="urn:microsoft.com/office/officeart/2005/8/layout/venn1"/>
    <dgm:cxn modelId="{A77A6813-C292-FB4C-BE6C-6A0233A7F028}" type="presOf" srcId="{C0A38931-928B-3D48-937F-36A0290F3FFF}" destId="{5DC5F8C2-81C6-A546-84DD-2AC336637821}" srcOrd="1" destOrd="0" presId="urn:microsoft.com/office/officeart/2005/8/layout/venn1"/>
    <dgm:cxn modelId="{70E24C1E-A701-1943-A5D1-3F8029EF3615}" type="presOf" srcId="{FF6D7FDE-4835-E34E-B368-28F6C487AA42}" destId="{E26448A0-39E9-0E40-BCD4-66A1E3FBCD3C}" srcOrd="1" destOrd="0" presId="urn:microsoft.com/office/officeart/2005/8/layout/venn1"/>
    <dgm:cxn modelId="{F2A8B723-DE19-0344-9878-265DC0DE5E97}" srcId="{CF2090B4-EDED-3C41-94C2-380AE424BDC1}" destId="{F8DAF0DB-9C94-8947-BB18-8BF3B5231D6E}" srcOrd="1" destOrd="0" parTransId="{9C1A053F-7D63-E549-A1C9-DCC0DA8AF4FA}" sibTransId="{004211BB-F8F1-8449-97D2-B33C2F2CFFC4}"/>
    <dgm:cxn modelId="{63310378-9BD3-7F4A-BFFB-63DDBCEDBDE5}" type="presOf" srcId="{C0A38931-928B-3D48-937F-36A0290F3FFF}" destId="{0BEB45F8-E804-3C4E-8492-622243C8EF05}" srcOrd="0" destOrd="0" presId="urn:microsoft.com/office/officeart/2005/8/layout/venn1"/>
    <dgm:cxn modelId="{16F90896-2EEE-B54D-B438-758BFF9C5A9A}" srcId="{CF2090B4-EDED-3C41-94C2-380AE424BDC1}" destId="{FF6D7FDE-4835-E34E-B368-28F6C487AA42}" srcOrd="2" destOrd="0" parTransId="{07B95690-6A35-1B4A-8D3B-A8143F8A7491}" sibTransId="{5652F475-8824-7B41-909C-08A303E12BF3}"/>
    <dgm:cxn modelId="{CEC94396-A2B0-6A4F-A1C6-596648ADA02A}" srcId="{CF2090B4-EDED-3C41-94C2-380AE424BDC1}" destId="{C0A38931-928B-3D48-937F-36A0290F3FFF}" srcOrd="0" destOrd="0" parTransId="{59EBA2E2-2677-864B-8C8D-3FCEE76BBF54}" sibTransId="{80A88DC9-DD18-F94E-9876-E922B858C76E}"/>
    <dgm:cxn modelId="{EBCC4CC0-7F4A-D247-B289-42CA7D9A5B7A}" type="presOf" srcId="{F8DAF0DB-9C94-8947-BB18-8BF3B5231D6E}" destId="{3DAB186D-09F3-334A-83F2-E124A448D653}" srcOrd="0" destOrd="0" presId="urn:microsoft.com/office/officeart/2005/8/layout/venn1"/>
    <dgm:cxn modelId="{1D0B38D8-53B1-E647-B969-42418A1C1A76}" type="presOf" srcId="{F8DAF0DB-9C94-8947-BB18-8BF3B5231D6E}" destId="{546D3249-EEE3-0641-9F35-D480D48856A7}" srcOrd="1" destOrd="0" presId="urn:microsoft.com/office/officeart/2005/8/layout/venn1"/>
    <dgm:cxn modelId="{3A7CD1F8-A772-FF4F-BCED-D76DDAC6FD0C}" type="presOf" srcId="{FF6D7FDE-4835-E34E-B368-28F6C487AA42}" destId="{D4276E17-6DE2-C049-BC82-FBA87D372BD8}" srcOrd="0" destOrd="0" presId="urn:microsoft.com/office/officeart/2005/8/layout/venn1"/>
    <dgm:cxn modelId="{038CC27D-89E4-0943-AE41-FDFE1C7408A4}" type="presParOf" srcId="{0EE5553C-49E5-4C43-8DCE-C3554888990F}" destId="{0BEB45F8-E804-3C4E-8492-622243C8EF05}" srcOrd="0" destOrd="0" presId="urn:microsoft.com/office/officeart/2005/8/layout/venn1"/>
    <dgm:cxn modelId="{47A1E666-997C-AD48-A834-19D1531058AA}" type="presParOf" srcId="{0EE5553C-49E5-4C43-8DCE-C3554888990F}" destId="{5DC5F8C2-81C6-A546-84DD-2AC336637821}" srcOrd="1" destOrd="0" presId="urn:microsoft.com/office/officeart/2005/8/layout/venn1"/>
    <dgm:cxn modelId="{B51232CE-2663-F948-97BE-1EEA695E030F}" type="presParOf" srcId="{0EE5553C-49E5-4C43-8DCE-C3554888990F}" destId="{3DAB186D-09F3-334A-83F2-E124A448D653}" srcOrd="2" destOrd="0" presId="urn:microsoft.com/office/officeart/2005/8/layout/venn1"/>
    <dgm:cxn modelId="{A064A0E8-D6BB-A04F-86CB-D8615E43BFD6}" type="presParOf" srcId="{0EE5553C-49E5-4C43-8DCE-C3554888990F}" destId="{546D3249-EEE3-0641-9F35-D480D48856A7}" srcOrd="3" destOrd="0" presId="urn:microsoft.com/office/officeart/2005/8/layout/venn1"/>
    <dgm:cxn modelId="{6702ED78-0450-3F47-AF22-F523C1692A13}" type="presParOf" srcId="{0EE5553C-49E5-4C43-8DCE-C3554888990F}" destId="{D4276E17-6DE2-C049-BC82-FBA87D372BD8}" srcOrd="4" destOrd="0" presId="urn:microsoft.com/office/officeart/2005/8/layout/venn1"/>
    <dgm:cxn modelId="{2E24640F-CA95-1C43-921E-6B35754579F9}" type="presParOf" srcId="{0EE5553C-49E5-4C43-8DCE-C3554888990F}" destId="{E26448A0-39E9-0E40-BCD4-66A1E3FBCD3C}"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548DFF-66C3-47B9-9B05-63E81E0AF3FF}"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461A3CE1-4C04-45AD-842E-3CAF6919EF03}">
      <dgm:prSet custT="1"/>
      <dgm:spPr/>
      <dgm:t>
        <a:bodyPr/>
        <a:lstStyle/>
        <a:p>
          <a:pPr algn="ctr"/>
          <a:r>
            <a:rPr lang="en-GB" sz="1800" b="1" dirty="0">
              <a:effectLst/>
              <a:latin typeface="Calibri" panose="020F0502020204030204" pitchFamily="34" charset="0"/>
              <a:ea typeface="Arial Unicode MS" panose="020B0604020202020204" pitchFamily="34" charset="-128"/>
              <a:cs typeface="Calibri" panose="020F0502020204030204" pitchFamily="34" charset="0"/>
            </a:rPr>
            <a:t>Academic Coverage</a:t>
          </a:r>
        </a:p>
        <a:p>
          <a:pPr algn="l"/>
          <a:r>
            <a:rPr lang="en-GB" sz="1500" dirty="0">
              <a:effectLst/>
              <a:latin typeface="Calibri" panose="020F0502020204030204" pitchFamily="34" charset="0"/>
              <a:ea typeface="Arial Unicode MS" panose="020B0604020202020204" pitchFamily="34" charset="-128"/>
              <a:cs typeface="Calibri" panose="020F0502020204030204" pitchFamily="34" charset="0"/>
            </a:rPr>
            <a:t>- Learning standards form the basis for all </a:t>
          </a:r>
          <a:r>
            <a:rPr lang="en-GB" sz="1500" dirty="0">
              <a:latin typeface="Calibri" panose="020F0502020204030204" pitchFamily="34" charset="0"/>
              <a:ea typeface="Arial Unicode MS" panose="020B0604020202020204" pitchFamily="34" charset="-128"/>
              <a:cs typeface="Calibri" panose="020F0502020204030204" pitchFamily="34" charset="0"/>
            </a:rPr>
            <a:t>PBL </a:t>
          </a:r>
          <a:r>
            <a:rPr lang="en-GB" sz="1500" dirty="0">
              <a:effectLst/>
              <a:latin typeface="Calibri" panose="020F0502020204030204" pitchFamily="34" charset="0"/>
              <a:ea typeface="Arial Unicode MS" panose="020B0604020202020204" pitchFamily="34" charset="-128"/>
              <a:cs typeface="Calibri" panose="020F0502020204030204" pitchFamily="34" charset="0"/>
            </a:rPr>
            <a:t>projects.</a:t>
          </a:r>
        </a:p>
        <a:p>
          <a:pPr algn="l"/>
          <a:r>
            <a:rPr lang="en-GB" sz="1500" dirty="0">
              <a:effectLst/>
              <a:latin typeface="Calibri" panose="020F0502020204030204" pitchFamily="34" charset="0"/>
              <a:ea typeface="Arial Unicode MS" panose="020B0604020202020204" pitchFamily="34" charset="-128"/>
              <a:cs typeface="Calibri" panose="020F0502020204030204" pitchFamily="34" charset="0"/>
            </a:rPr>
            <a:t>- Core skills are practiced.</a:t>
          </a:r>
        </a:p>
        <a:p>
          <a:pPr algn="l"/>
          <a:r>
            <a:rPr lang="en-GB" sz="1500" dirty="0">
              <a:effectLst/>
              <a:latin typeface="Calibri" panose="020F0502020204030204" pitchFamily="34" charset="0"/>
              <a:ea typeface="Arial Unicode MS" panose="020B0604020202020204" pitchFamily="34" charset="-128"/>
              <a:cs typeface="Calibri" panose="020F0502020204030204" pitchFamily="34" charset="0"/>
            </a:rPr>
            <a:t>- Projects align with national and international curricula.</a:t>
          </a:r>
          <a:endParaRPr lang="en-US" sz="1500" dirty="0"/>
        </a:p>
      </dgm:t>
    </dgm:pt>
    <dgm:pt modelId="{7978695C-2CEA-440D-B8B0-818F4C4747B1}" type="parTrans" cxnId="{470504E3-43FB-455A-B6BF-B24D8C8D1329}">
      <dgm:prSet/>
      <dgm:spPr/>
      <dgm:t>
        <a:bodyPr/>
        <a:lstStyle/>
        <a:p>
          <a:endParaRPr lang="en-US"/>
        </a:p>
      </dgm:t>
    </dgm:pt>
    <dgm:pt modelId="{20872E31-8678-4296-BAB9-E7C6EE491FD1}" type="sibTrans" cxnId="{470504E3-43FB-455A-B6BF-B24D8C8D1329}">
      <dgm:prSet/>
      <dgm:spPr/>
      <dgm:t>
        <a:bodyPr/>
        <a:lstStyle/>
        <a:p>
          <a:endParaRPr lang="en-US"/>
        </a:p>
      </dgm:t>
    </dgm:pt>
    <dgm:pt modelId="{9C00DFEE-C03B-4852-9AD9-39EDC9AD0E8C}">
      <dgm:prSet custT="1"/>
      <dgm:spPr/>
      <dgm:t>
        <a:bodyPr/>
        <a:lstStyle/>
        <a:p>
          <a:pPr algn="ctr"/>
          <a:r>
            <a:rPr lang="en-GB" sz="1800" b="1" dirty="0">
              <a:effectLst/>
              <a:latin typeface="Calibri" panose="020F0502020204030204" pitchFamily="34" charset="0"/>
              <a:ea typeface="Arial Unicode MS" panose="020B0604020202020204" pitchFamily="34" charset="-128"/>
              <a:cs typeface="Calibri" panose="020F0502020204030204" pitchFamily="34" charset="0"/>
            </a:rPr>
            <a:t>Higher Scores</a:t>
          </a:r>
        </a:p>
        <a:p>
          <a:pPr algn="l"/>
          <a:r>
            <a:rPr lang="en-GB" sz="1500" b="0" dirty="0">
              <a:effectLst/>
              <a:latin typeface="Calibri" panose="020F0502020204030204" pitchFamily="34" charset="0"/>
              <a:ea typeface="Arial Unicode MS" panose="020B0604020202020204" pitchFamily="34" charset="-128"/>
              <a:cs typeface="Calibri" panose="020F0502020204030204" pitchFamily="34" charset="0"/>
            </a:rPr>
            <a:t>- Students </a:t>
          </a:r>
          <a:r>
            <a:rPr lang="en-GB" sz="1500" dirty="0">
              <a:effectLst/>
              <a:latin typeface="Calibri" panose="020F0502020204030204" pitchFamily="34" charset="0"/>
              <a:ea typeface="Arial Unicode MS" panose="020B0604020202020204" pitchFamily="34" charset="-128"/>
              <a:cs typeface="Calibri" panose="020F0502020204030204" pitchFamily="34" charset="0"/>
            </a:rPr>
            <a:t>learn standards in more depth, ensuring lasting understanding through practical application.</a:t>
          </a:r>
          <a:endParaRPr lang="en-US" sz="1500" b="0" dirty="0"/>
        </a:p>
      </dgm:t>
    </dgm:pt>
    <dgm:pt modelId="{98DE17F0-D20C-4B0E-AE31-3F580B330A2A}" type="parTrans" cxnId="{13E3C697-B199-48F9-9E64-1E593E5F8C88}">
      <dgm:prSet/>
      <dgm:spPr/>
      <dgm:t>
        <a:bodyPr/>
        <a:lstStyle/>
        <a:p>
          <a:endParaRPr lang="en-US"/>
        </a:p>
      </dgm:t>
    </dgm:pt>
    <dgm:pt modelId="{4D3A2CF6-B0A3-4711-B425-4E6CC4498513}" type="sibTrans" cxnId="{13E3C697-B199-48F9-9E64-1E593E5F8C88}">
      <dgm:prSet/>
      <dgm:spPr/>
      <dgm:t>
        <a:bodyPr/>
        <a:lstStyle/>
        <a:p>
          <a:endParaRPr lang="en-US"/>
        </a:p>
      </dgm:t>
    </dgm:pt>
    <dgm:pt modelId="{925570AF-DDB6-4DA9-8612-F296C92EC3A9}">
      <dgm:prSet custT="1"/>
      <dgm:spPr/>
      <dgm:t>
        <a:bodyPr/>
        <a:lstStyle/>
        <a:p>
          <a:r>
            <a:rPr lang="en-GB" sz="1800" b="1" dirty="0"/>
            <a:t>Goes Beyond Academic</a:t>
          </a:r>
        </a:p>
        <a:p>
          <a:r>
            <a:rPr lang="en-GB" sz="1500" dirty="0"/>
            <a:t>The top skill sets for the future require agency, adaptability, problem-solving, teamwork and communication– all prominent features of PBL.</a:t>
          </a:r>
          <a:endParaRPr lang="en-US" sz="1500" dirty="0"/>
        </a:p>
      </dgm:t>
    </dgm:pt>
    <dgm:pt modelId="{8DEFE1AC-F328-4F20-861F-70B6649672A5}" type="parTrans" cxnId="{65593BB9-136B-4BD4-BC42-1047221432FD}">
      <dgm:prSet/>
      <dgm:spPr/>
      <dgm:t>
        <a:bodyPr/>
        <a:lstStyle/>
        <a:p>
          <a:endParaRPr lang="en-US"/>
        </a:p>
      </dgm:t>
    </dgm:pt>
    <dgm:pt modelId="{4A440604-4619-4190-9FB9-B34C4C67DBA2}" type="sibTrans" cxnId="{65593BB9-136B-4BD4-BC42-1047221432FD}">
      <dgm:prSet/>
      <dgm:spPr/>
      <dgm:t>
        <a:bodyPr/>
        <a:lstStyle/>
        <a:p>
          <a:endParaRPr lang="en-US"/>
        </a:p>
      </dgm:t>
    </dgm:pt>
    <dgm:pt modelId="{2FEE395E-7FD9-4446-82AA-DDD224E627DD}" type="pres">
      <dgm:prSet presAssocID="{35548DFF-66C3-47B9-9B05-63E81E0AF3FF}" presName="hierChild1" presStyleCnt="0">
        <dgm:presLayoutVars>
          <dgm:chPref val="1"/>
          <dgm:dir/>
          <dgm:animOne val="branch"/>
          <dgm:animLvl val="lvl"/>
          <dgm:resizeHandles/>
        </dgm:presLayoutVars>
      </dgm:prSet>
      <dgm:spPr/>
    </dgm:pt>
    <dgm:pt modelId="{F1A32550-D7B3-9B44-B4EB-D9FD186C0771}" type="pres">
      <dgm:prSet presAssocID="{461A3CE1-4C04-45AD-842E-3CAF6919EF03}" presName="hierRoot1" presStyleCnt="0"/>
      <dgm:spPr/>
    </dgm:pt>
    <dgm:pt modelId="{90CF9065-17D6-8F4B-B722-7A541B0A7A45}" type="pres">
      <dgm:prSet presAssocID="{461A3CE1-4C04-45AD-842E-3CAF6919EF03}" presName="composite" presStyleCnt="0"/>
      <dgm:spPr/>
    </dgm:pt>
    <dgm:pt modelId="{4CE19EB8-5D20-8E40-B277-517566CBB5B6}" type="pres">
      <dgm:prSet presAssocID="{461A3CE1-4C04-45AD-842E-3CAF6919EF03}" presName="background" presStyleLbl="node0" presStyleIdx="0" presStyleCnt="3"/>
      <dgm:spPr>
        <a:solidFill>
          <a:schemeClr val="accent2"/>
        </a:solidFill>
      </dgm:spPr>
    </dgm:pt>
    <dgm:pt modelId="{DD3A6597-E778-D848-9F5D-6B88AD8766E2}" type="pres">
      <dgm:prSet presAssocID="{461A3CE1-4C04-45AD-842E-3CAF6919EF03}" presName="text" presStyleLbl="fgAcc0" presStyleIdx="0" presStyleCnt="3">
        <dgm:presLayoutVars>
          <dgm:chPref val="3"/>
        </dgm:presLayoutVars>
      </dgm:prSet>
      <dgm:spPr/>
    </dgm:pt>
    <dgm:pt modelId="{9C006223-9DAF-1444-8190-1294E9CBB0BD}" type="pres">
      <dgm:prSet presAssocID="{461A3CE1-4C04-45AD-842E-3CAF6919EF03}" presName="hierChild2" presStyleCnt="0"/>
      <dgm:spPr/>
    </dgm:pt>
    <dgm:pt modelId="{C7DCCB0E-C969-C046-B703-99843DF7364A}" type="pres">
      <dgm:prSet presAssocID="{9C00DFEE-C03B-4852-9AD9-39EDC9AD0E8C}" presName="hierRoot1" presStyleCnt="0"/>
      <dgm:spPr/>
    </dgm:pt>
    <dgm:pt modelId="{A1C1A96C-EC7C-0D43-AB88-883186F26878}" type="pres">
      <dgm:prSet presAssocID="{9C00DFEE-C03B-4852-9AD9-39EDC9AD0E8C}" presName="composite" presStyleCnt="0"/>
      <dgm:spPr/>
    </dgm:pt>
    <dgm:pt modelId="{DFBE26F0-0249-8D40-9959-ECA1620990CC}" type="pres">
      <dgm:prSet presAssocID="{9C00DFEE-C03B-4852-9AD9-39EDC9AD0E8C}" presName="background" presStyleLbl="node0" presStyleIdx="1" presStyleCnt="3"/>
      <dgm:spPr>
        <a:solidFill>
          <a:schemeClr val="accent2"/>
        </a:solidFill>
      </dgm:spPr>
    </dgm:pt>
    <dgm:pt modelId="{62AF4DDD-5E55-0F47-83A4-88BB308F721A}" type="pres">
      <dgm:prSet presAssocID="{9C00DFEE-C03B-4852-9AD9-39EDC9AD0E8C}" presName="text" presStyleLbl="fgAcc0" presStyleIdx="1" presStyleCnt="3">
        <dgm:presLayoutVars>
          <dgm:chPref val="3"/>
        </dgm:presLayoutVars>
      </dgm:prSet>
      <dgm:spPr/>
    </dgm:pt>
    <dgm:pt modelId="{EB715ADE-87F1-8C44-AE88-4A20FB8EDCBE}" type="pres">
      <dgm:prSet presAssocID="{9C00DFEE-C03B-4852-9AD9-39EDC9AD0E8C}" presName="hierChild2" presStyleCnt="0"/>
      <dgm:spPr/>
    </dgm:pt>
    <dgm:pt modelId="{A99739B4-24E3-0C4C-9BCB-775E45B96100}" type="pres">
      <dgm:prSet presAssocID="{925570AF-DDB6-4DA9-8612-F296C92EC3A9}" presName="hierRoot1" presStyleCnt="0"/>
      <dgm:spPr/>
    </dgm:pt>
    <dgm:pt modelId="{B06229E7-A254-074C-8680-60AFF90CC267}" type="pres">
      <dgm:prSet presAssocID="{925570AF-DDB6-4DA9-8612-F296C92EC3A9}" presName="composite" presStyleCnt="0"/>
      <dgm:spPr/>
    </dgm:pt>
    <dgm:pt modelId="{C1F5BCFE-2DB9-5543-A0F8-429CD56FA92F}" type="pres">
      <dgm:prSet presAssocID="{925570AF-DDB6-4DA9-8612-F296C92EC3A9}" presName="background" presStyleLbl="node0" presStyleIdx="2" presStyleCnt="3"/>
      <dgm:spPr>
        <a:solidFill>
          <a:schemeClr val="accent2"/>
        </a:solidFill>
      </dgm:spPr>
    </dgm:pt>
    <dgm:pt modelId="{31FF1CC7-AA20-8F4E-8AD2-4BCC460F807A}" type="pres">
      <dgm:prSet presAssocID="{925570AF-DDB6-4DA9-8612-F296C92EC3A9}" presName="text" presStyleLbl="fgAcc0" presStyleIdx="2" presStyleCnt="3">
        <dgm:presLayoutVars>
          <dgm:chPref val="3"/>
        </dgm:presLayoutVars>
      </dgm:prSet>
      <dgm:spPr/>
    </dgm:pt>
    <dgm:pt modelId="{67A35634-ABBF-1548-8717-9CF5C5D31C29}" type="pres">
      <dgm:prSet presAssocID="{925570AF-DDB6-4DA9-8612-F296C92EC3A9}" presName="hierChild2" presStyleCnt="0"/>
      <dgm:spPr/>
    </dgm:pt>
  </dgm:ptLst>
  <dgm:cxnLst>
    <dgm:cxn modelId="{BA911276-0058-BC45-956B-98B336CB4637}" type="presOf" srcId="{9C00DFEE-C03B-4852-9AD9-39EDC9AD0E8C}" destId="{62AF4DDD-5E55-0F47-83A4-88BB308F721A}" srcOrd="0" destOrd="0" presId="urn:microsoft.com/office/officeart/2005/8/layout/hierarchy1"/>
    <dgm:cxn modelId="{13E3C697-B199-48F9-9E64-1E593E5F8C88}" srcId="{35548DFF-66C3-47B9-9B05-63E81E0AF3FF}" destId="{9C00DFEE-C03B-4852-9AD9-39EDC9AD0E8C}" srcOrd="1" destOrd="0" parTransId="{98DE17F0-D20C-4B0E-AE31-3F580B330A2A}" sibTransId="{4D3A2CF6-B0A3-4711-B425-4E6CC4498513}"/>
    <dgm:cxn modelId="{391578AF-28CF-4745-8622-0D4052ADE3EF}" type="presOf" srcId="{35548DFF-66C3-47B9-9B05-63E81E0AF3FF}" destId="{2FEE395E-7FD9-4446-82AA-DDD224E627DD}" srcOrd="0" destOrd="0" presId="urn:microsoft.com/office/officeart/2005/8/layout/hierarchy1"/>
    <dgm:cxn modelId="{65593BB9-136B-4BD4-BC42-1047221432FD}" srcId="{35548DFF-66C3-47B9-9B05-63E81E0AF3FF}" destId="{925570AF-DDB6-4DA9-8612-F296C92EC3A9}" srcOrd="2" destOrd="0" parTransId="{8DEFE1AC-F328-4F20-861F-70B6649672A5}" sibTransId="{4A440604-4619-4190-9FB9-B34C4C67DBA2}"/>
    <dgm:cxn modelId="{47BA92BF-9EAB-604F-A8E8-F87883AA2962}" type="presOf" srcId="{925570AF-DDB6-4DA9-8612-F296C92EC3A9}" destId="{31FF1CC7-AA20-8F4E-8AD2-4BCC460F807A}" srcOrd="0" destOrd="0" presId="urn:microsoft.com/office/officeart/2005/8/layout/hierarchy1"/>
    <dgm:cxn modelId="{470504E3-43FB-455A-B6BF-B24D8C8D1329}" srcId="{35548DFF-66C3-47B9-9B05-63E81E0AF3FF}" destId="{461A3CE1-4C04-45AD-842E-3CAF6919EF03}" srcOrd="0" destOrd="0" parTransId="{7978695C-2CEA-440D-B8B0-818F4C4747B1}" sibTransId="{20872E31-8678-4296-BAB9-E7C6EE491FD1}"/>
    <dgm:cxn modelId="{6F4BF1E8-23C5-D642-9D1F-8636620E43DA}" type="presOf" srcId="{461A3CE1-4C04-45AD-842E-3CAF6919EF03}" destId="{DD3A6597-E778-D848-9F5D-6B88AD8766E2}" srcOrd="0" destOrd="0" presId="urn:microsoft.com/office/officeart/2005/8/layout/hierarchy1"/>
    <dgm:cxn modelId="{5FC8F1E8-788B-C040-B809-7ECB7A219C67}" type="presParOf" srcId="{2FEE395E-7FD9-4446-82AA-DDD224E627DD}" destId="{F1A32550-D7B3-9B44-B4EB-D9FD186C0771}" srcOrd="0" destOrd="0" presId="urn:microsoft.com/office/officeart/2005/8/layout/hierarchy1"/>
    <dgm:cxn modelId="{BCCA5EB0-FFF8-F64A-80F0-DE89AF210376}" type="presParOf" srcId="{F1A32550-D7B3-9B44-B4EB-D9FD186C0771}" destId="{90CF9065-17D6-8F4B-B722-7A541B0A7A45}" srcOrd="0" destOrd="0" presId="urn:microsoft.com/office/officeart/2005/8/layout/hierarchy1"/>
    <dgm:cxn modelId="{E3D3ABD2-FD36-3C45-87D2-8ED168BB185A}" type="presParOf" srcId="{90CF9065-17D6-8F4B-B722-7A541B0A7A45}" destId="{4CE19EB8-5D20-8E40-B277-517566CBB5B6}" srcOrd="0" destOrd="0" presId="urn:microsoft.com/office/officeart/2005/8/layout/hierarchy1"/>
    <dgm:cxn modelId="{64739144-8C6B-5F42-88CE-319334A0223A}" type="presParOf" srcId="{90CF9065-17D6-8F4B-B722-7A541B0A7A45}" destId="{DD3A6597-E778-D848-9F5D-6B88AD8766E2}" srcOrd="1" destOrd="0" presId="urn:microsoft.com/office/officeart/2005/8/layout/hierarchy1"/>
    <dgm:cxn modelId="{3C95A73E-4E70-FF43-A812-4DDDACC2C746}" type="presParOf" srcId="{F1A32550-D7B3-9B44-B4EB-D9FD186C0771}" destId="{9C006223-9DAF-1444-8190-1294E9CBB0BD}" srcOrd="1" destOrd="0" presId="urn:microsoft.com/office/officeart/2005/8/layout/hierarchy1"/>
    <dgm:cxn modelId="{F3E5104C-88F2-2B42-9AE7-EAEE6B939705}" type="presParOf" srcId="{2FEE395E-7FD9-4446-82AA-DDD224E627DD}" destId="{C7DCCB0E-C969-C046-B703-99843DF7364A}" srcOrd="1" destOrd="0" presId="urn:microsoft.com/office/officeart/2005/8/layout/hierarchy1"/>
    <dgm:cxn modelId="{036AA747-D571-4C41-98F2-1616370A5BCE}" type="presParOf" srcId="{C7DCCB0E-C969-C046-B703-99843DF7364A}" destId="{A1C1A96C-EC7C-0D43-AB88-883186F26878}" srcOrd="0" destOrd="0" presId="urn:microsoft.com/office/officeart/2005/8/layout/hierarchy1"/>
    <dgm:cxn modelId="{D23A2588-939C-8A4E-A340-88F6875785CD}" type="presParOf" srcId="{A1C1A96C-EC7C-0D43-AB88-883186F26878}" destId="{DFBE26F0-0249-8D40-9959-ECA1620990CC}" srcOrd="0" destOrd="0" presId="urn:microsoft.com/office/officeart/2005/8/layout/hierarchy1"/>
    <dgm:cxn modelId="{491FBEEA-FC8A-0641-8E01-28EA5A30A320}" type="presParOf" srcId="{A1C1A96C-EC7C-0D43-AB88-883186F26878}" destId="{62AF4DDD-5E55-0F47-83A4-88BB308F721A}" srcOrd="1" destOrd="0" presId="urn:microsoft.com/office/officeart/2005/8/layout/hierarchy1"/>
    <dgm:cxn modelId="{78B0D46F-E1CD-3043-96C2-010E4763D517}" type="presParOf" srcId="{C7DCCB0E-C969-C046-B703-99843DF7364A}" destId="{EB715ADE-87F1-8C44-AE88-4A20FB8EDCBE}" srcOrd="1" destOrd="0" presId="urn:microsoft.com/office/officeart/2005/8/layout/hierarchy1"/>
    <dgm:cxn modelId="{18BCD929-75E6-B34C-9D06-15295A7F36E8}" type="presParOf" srcId="{2FEE395E-7FD9-4446-82AA-DDD224E627DD}" destId="{A99739B4-24E3-0C4C-9BCB-775E45B96100}" srcOrd="2" destOrd="0" presId="urn:microsoft.com/office/officeart/2005/8/layout/hierarchy1"/>
    <dgm:cxn modelId="{13C1CAD2-B9F5-3D4D-B4A9-EBD1337B2C8B}" type="presParOf" srcId="{A99739B4-24E3-0C4C-9BCB-775E45B96100}" destId="{B06229E7-A254-074C-8680-60AFF90CC267}" srcOrd="0" destOrd="0" presId="urn:microsoft.com/office/officeart/2005/8/layout/hierarchy1"/>
    <dgm:cxn modelId="{CD9C95C9-BBB9-6F44-B3FD-0BF2565271C0}" type="presParOf" srcId="{B06229E7-A254-074C-8680-60AFF90CC267}" destId="{C1F5BCFE-2DB9-5543-A0F8-429CD56FA92F}" srcOrd="0" destOrd="0" presId="urn:microsoft.com/office/officeart/2005/8/layout/hierarchy1"/>
    <dgm:cxn modelId="{8A689FCF-DFD2-BA4A-969C-E503FC64FFB3}" type="presParOf" srcId="{B06229E7-A254-074C-8680-60AFF90CC267}" destId="{31FF1CC7-AA20-8F4E-8AD2-4BCC460F807A}" srcOrd="1" destOrd="0" presId="urn:microsoft.com/office/officeart/2005/8/layout/hierarchy1"/>
    <dgm:cxn modelId="{B71813F7-77CA-5B4D-A781-6DC7B2CA38E3}" type="presParOf" srcId="{A99739B4-24E3-0C4C-9BCB-775E45B96100}" destId="{67A35634-ABBF-1548-8717-9CF5C5D31C29}"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2BBFC6-3F6A-7844-8153-E3847F3AC34E}">
      <dsp:nvSpPr>
        <dsp:cNvPr id="0" name=""/>
        <dsp:cNvSpPr/>
      </dsp:nvSpPr>
      <dsp:spPr>
        <a:xfrm rot="5400000">
          <a:off x="3045702" y="116572"/>
          <a:ext cx="1773432" cy="1542886"/>
        </a:xfrm>
        <a:prstGeom prst="hexagon">
          <a:avLst>
            <a:gd name="adj" fmla="val 25000"/>
            <a:gd name="vf" fmla="val 11547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endParaRPr lang="en-GB" sz="1200" kern="1200" dirty="0"/>
        </a:p>
      </dsp:txBody>
      <dsp:txXfrm rot="-5400000">
        <a:off x="3401408" y="277659"/>
        <a:ext cx="1062020" cy="1220712"/>
      </dsp:txXfrm>
    </dsp:sp>
    <dsp:sp modelId="{81E8C4E4-3C5E-4241-B988-1BF90304D214}">
      <dsp:nvSpPr>
        <dsp:cNvPr id="0" name=""/>
        <dsp:cNvSpPr/>
      </dsp:nvSpPr>
      <dsp:spPr>
        <a:xfrm>
          <a:off x="4750681" y="355985"/>
          <a:ext cx="1979151" cy="1064059"/>
        </a:xfrm>
        <a:prstGeom prst="rect">
          <a:avLst/>
        </a:prstGeom>
        <a:noFill/>
        <a:ln>
          <a:noFill/>
        </a:ln>
        <a:effectLst/>
      </dsp:spPr>
      <dsp:style>
        <a:lnRef idx="0">
          <a:scrgbClr r="0" g="0" b="0"/>
        </a:lnRef>
        <a:fillRef idx="0">
          <a:scrgbClr r="0" g="0" b="0"/>
        </a:fillRef>
        <a:effectRef idx="0">
          <a:scrgbClr r="0" g="0" b="0"/>
        </a:effectRef>
        <a:fontRef idx="minor"/>
      </dsp:style>
    </dsp:sp>
    <dsp:sp modelId="{E605047B-3039-3D41-B675-D1C4293657D1}">
      <dsp:nvSpPr>
        <dsp:cNvPr id="0" name=""/>
        <dsp:cNvSpPr/>
      </dsp:nvSpPr>
      <dsp:spPr>
        <a:xfrm rot="5400000">
          <a:off x="1379385" y="116572"/>
          <a:ext cx="1773432" cy="1542886"/>
        </a:xfrm>
        <a:prstGeom prst="hexagon">
          <a:avLst>
            <a:gd name="adj" fmla="val 25000"/>
            <a:gd name="vf" fmla="val 115470"/>
          </a:avLst>
        </a:prstGeom>
        <a:gradFill rotWithShape="0">
          <a:gsLst>
            <a:gs pos="0">
              <a:schemeClr val="accent5">
                <a:hueOff val="-1470669"/>
                <a:satOff val="-2046"/>
                <a:lumOff val="-784"/>
                <a:alphaOff val="0"/>
                <a:satMod val="103000"/>
                <a:lumMod val="102000"/>
                <a:tint val="94000"/>
              </a:schemeClr>
            </a:gs>
            <a:gs pos="50000">
              <a:schemeClr val="accent5">
                <a:hueOff val="-1470669"/>
                <a:satOff val="-2046"/>
                <a:lumOff val="-784"/>
                <a:alphaOff val="0"/>
                <a:satMod val="110000"/>
                <a:lumMod val="100000"/>
                <a:shade val="100000"/>
              </a:schemeClr>
            </a:gs>
            <a:gs pos="100000">
              <a:schemeClr val="accent5">
                <a:hueOff val="-1470669"/>
                <a:satOff val="-2046"/>
                <a:lumOff val="-784"/>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rot="-5400000">
        <a:off x="1735091" y="277659"/>
        <a:ext cx="1062020" cy="1220712"/>
      </dsp:txXfrm>
    </dsp:sp>
    <dsp:sp modelId="{93C622EF-5DBC-2242-8FC4-392F2C9AE93B}">
      <dsp:nvSpPr>
        <dsp:cNvPr id="0" name=""/>
        <dsp:cNvSpPr/>
      </dsp:nvSpPr>
      <dsp:spPr>
        <a:xfrm rot="5400000">
          <a:off x="2209351" y="1621862"/>
          <a:ext cx="1773432" cy="1542886"/>
        </a:xfrm>
        <a:prstGeom prst="hexagon">
          <a:avLst>
            <a:gd name="adj" fmla="val 25000"/>
            <a:gd name="vf" fmla="val 115470"/>
          </a:avLst>
        </a:prstGeom>
        <a:gradFill rotWithShape="0">
          <a:gsLst>
            <a:gs pos="0">
              <a:schemeClr val="accent5">
                <a:hueOff val="-2941338"/>
                <a:satOff val="-4091"/>
                <a:lumOff val="-1569"/>
                <a:alphaOff val="0"/>
                <a:satMod val="103000"/>
                <a:lumMod val="102000"/>
                <a:tint val="94000"/>
              </a:schemeClr>
            </a:gs>
            <a:gs pos="50000">
              <a:schemeClr val="accent5">
                <a:hueOff val="-2941338"/>
                <a:satOff val="-4091"/>
                <a:lumOff val="-1569"/>
                <a:alphaOff val="0"/>
                <a:satMod val="110000"/>
                <a:lumMod val="100000"/>
                <a:shade val="100000"/>
              </a:schemeClr>
            </a:gs>
            <a:gs pos="100000">
              <a:schemeClr val="accent5">
                <a:hueOff val="-2941338"/>
                <a:satOff val="-4091"/>
                <a:lumOff val="-1569"/>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2489200" rtl="0">
            <a:lnSpc>
              <a:spcPct val="90000"/>
            </a:lnSpc>
            <a:spcBef>
              <a:spcPct val="0"/>
            </a:spcBef>
            <a:spcAft>
              <a:spcPct val="35000"/>
            </a:spcAft>
            <a:buNone/>
          </a:pPr>
          <a:endParaRPr lang="en-GB" sz="5600" kern="1200" dirty="0"/>
        </a:p>
      </dsp:txBody>
      <dsp:txXfrm rot="-5400000">
        <a:off x="2565057" y="1782949"/>
        <a:ext cx="1062020" cy="1220712"/>
      </dsp:txXfrm>
    </dsp:sp>
    <dsp:sp modelId="{A0B11EA4-8735-6747-B2CF-C5251B5A48C6}">
      <dsp:nvSpPr>
        <dsp:cNvPr id="0" name=""/>
        <dsp:cNvSpPr/>
      </dsp:nvSpPr>
      <dsp:spPr>
        <a:xfrm>
          <a:off x="345473" y="1861275"/>
          <a:ext cx="1915307" cy="1064059"/>
        </a:xfrm>
        <a:prstGeom prst="rect">
          <a:avLst/>
        </a:prstGeom>
        <a:noFill/>
        <a:ln>
          <a:noFill/>
        </a:ln>
        <a:effectLst/>
      </dsp:spPr>
      <dsp:style>
        <a:lnRef idx="0">
          <a:scrgbClr r="0" g="0" b="0"/>
        </a:lnRef>
        <a:fillRef idx="0">
          <a:scrgbClr r="0" g="0" b="0"/>
        </a:fillRef>
        <a:effectRef idx="0">
          <a:scrgbClr r="0" g="0" b="0"/>
        </a:effectRef>
        <a:fontRef idx="minor"/>
      </dsp:style>
    </dsp:sp>
    <dsp:sp modelId="{80E90F55-1D53-1F49-800A-4D38A6012293}">
      <dsp:nvSpPr>
        <dsp:cNvPr id="0" name=""/>
        <dsp:cNvSpPr/>
      </dsp:nvSpPr>
      <dsp:spPr>
        <a:xfrm rot="5400000">
          <a:off x="3875669" y="1621862"/>
          <a:ext cx="1773432" cy="1542886"/>
        </a:xfrm>
        <a:prstGeom prst="hexagon">
          <a:avLst>
            <a:gd name="adj" fmla="val 25000"/>
            <a:gd name="vf" fmla="val 115470"/>
          </a:avLst>
        </a:prstGeom>
        <a:gradFill rotWithShape="0">
          <a:gsLst>
            <a:gs pos="0">
              <a:schemeClr val="accent5">
                <a:hueOff val="-4412007"/>
                <a:satOff val="-6137"/>
                <a:lumOff val="-2353"/>
                <a:alphaOff val="0"/>
                <a:satMod val="103000"/>
                <a:lumMod val="102000"/>
                <a:tint val="94000"/>
              </a:schemeClr>
            </a:gs>
            <a:gs pos="50000">
              <a:schemeClr val="accent5">
                <a:hueOff val="-4412007"/>
                <a:satOff val="-6137"/>
                <a:lumOff val="-2353"/>
                <a:alphaOff val="0"/>
                <a:satMod val="110000"/>
                <a:lumMod val="100000"/>
                <a:shade val="100000"/>
              </a:schemeClr>
            </a:gs>
            <a:gs pos="100000">
              <a:schemeClr val="accent5">
                <a:hueOff val="-4412007"/>
                <a:satOff val="-6137"/>
                <a:lumOff val="-2353"/>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rot="-5400000">
        <a:off x="4231375" y="1782949"/>
        <a:ext cx="1062020" cy="1220712"/>
      </dsp:txXfrm>
    </dsp:sp>
    <dsp:sp modelId="{7E6F3002-49BB-1E4B-9C90-3E54AA8EC233}">
      <dsp:nvSpPr>
        <dsp:cNvPr id="0" name=""/>
        <dsp:cNvSpPr/>
      </dsp:nvSpPr>
      <dsp:spPr>
        <a:xfrm rot="5400000">
          <a:off x="3045702" y="3127152"/>
          <a:ext cx="1773432" cy="1542886"/>
        </a:xfrm>
        <a:prstGeom prst="hexagon">
          <a:avLst>
            <a:gd name="adj" fmla="val 25000"/>
            <a:gd name="vf" fmla="val 115470"/>
          </a:avLst>
        </a:prstGeom>
        <a:gradFill rotWithShape="0">
          <a:gsLst>
            <a:gs pos="0">
              <a:schemeClr val="accent5">
                <a:hueOff val="-5882676"/>
                <a:satOff val="-8182"/>
                <a:lumOff val="-3138"/>
                <a:alphaOff val="0"/>
                <a:satMod val="103000"/>
                <a:lumMod val="102000"/>
                <a:tint val="94000"/>
              </a:schemeClr>
            </a:gs>
            <a:gs pos="50000">
              <a:schemeClr val="accent5">
                <a:hueOff val="-5882676"/>
                <a:satOff val="-8182"/>
                <a:lumOff val="-3138"/>
                <a:alphaOff val="0"/>
                <a:satMod val="110000"/>
                <a:lumMod val="100000"/>
                <a:shade val="100000"/>
              </a:schemeClr>
            </a:gs>
            <a:gs pos="100000">
              <a:schemeClr val="accent5">
                <a:hueOff val="-5882676"/>
                <a:satOff val="-8182"/>
                <a:lumOff val="-313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2489200" rtl="0">
            <a:lnSpc>
              <a:spcPct val="90000"/>
            </a:lnSpc>
            <a:spcBef>
              <a:spcPct val="0"/>
            </a:spcBef>
            <a:spcAft>
              <a:spcPct val="35000"/>
            </a:spcAft>
            <a:buNone/>
          </a:pPr>
          <a:endParaRPr lang="en-GB" sz="5600" kern="1200" dirty="0"/>
        </a:p>
      </dsp:txBody>
      <dsp:txXfrm rot="-5400000">
        <a:off x="3401408" y="3288239"/>
        <a:ext cx="1062020" cy="1220712"/>
      </dsp:txXfrm>
    </dsp:sp>
    <dsp:sp modelId="{7A30572B-2B0A-A24D-BE66-830EBA2F18D0}">
      <dsp:nvSpPr>
        <dsp:cNvPr id="0" name=""/>
        <dsp:cNvSpPr/>
      </dsp:nvSpPr>
      <dsp:spPr>
        <a:xfrm>
          <a:off x="4750681" y="3366565"/>
          <a:ext cx="1979151" cy="1064059"/>
        </a:xfrm>
        <a:prstGeom prst="rect">
          <a:avLst/>
        </a:prstGeom>
        <a:noFill/>
        <a:ln>
          <a:noFill/>
        </a:ln>
        <a:effectLst/>
      </dsp:spPr>
      <dsp:style>
        <a:lnRef idx="0">
          <a:scrgbClr r="0" g="0" b="0"/>
        </a:lnRef>
        <a:fillRef idx="0">
          <a:scrgbClr r="0" g="0" b="0"/>
        </a:fillRef>
        <a:effectRef idx="0">
          <a:scrgbClr r="0" g="0" b="0"/>
        </a:effectRef>
        <a:fontRef idx="minor"/>
      </dsp:style>
    </dsp:sp>
    <dsp:sp modelId="{4662FADC-93B9-6B43-BF79-BC593444AE2E}">
      <dsp:nvSpPr>
        <dsp:cNvPr id="0" name=""/>
        <dsp:cNvSpPr/>
      </dsp:nvSpPr>
      <dsp:spPr>
        <a:xfrm rot="5400000">
          <a:off x="1379385" y="3127152"/>
          <a:ext cx="1773432" cy="1542886"/>
        </a:xfrm>
        <a:prstGeom prst="hexagon">
          <a:avLst>
            <a:gd name="adj" fmla="val 25000"/>
            <a:gd name="vf" fmla="val 115470"/>
          </a:avLst>
        </a:prstGeom>
        <a:gradFill rotWithShape="0">
          <a:gsLst>
            <a:gs pos="0">
              <a:schemeClr val="accent5">
                <a:hueOff val="-7353344"/>
                <a:satOff val="-10228"/>
                <a:lumOff val="-3922"/>
                <a:alphaOff val="0"/>
                <a:satMod val="103000"/>
                <a:lumMod val="102000"/>
                <a:tint val="94000"/>
              </a:schemeClr>
            </a:gs>
            <a:gs pos="50000">
              <a:schemeClr val="accent5">
                <a:hueOff val="-7353344"/>
                <a:satOff val="-10228"/>
                <a:lumOff val="-3922"/>
                <a:alphaOff val="0"/>
                <a:satMod val="110000"/>
                <a:lumMod val="100000"/>
                <a:shade val="100000"/>
              </a:schemeClr>
            </a:gs>
            <a:gs pos="100000">
              <a:schemeClr val="accent5">
                <a:hueOff val="-7353344"/>
                <a:satOff val="-10228"/>
                <a:lumOff val="-3922"/>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rot="-5400000">
        <a:off x="1735091" y="3288239"/>
        <a:ext cx="1062020" cy="1220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EB45F8-E804-3C4E-8492-622243C8EF05}">
      <dsp:nvSpPr>
        <dsp:cNvPr id="0" name=""/>
        <dsp:cNvSpPr/>
      </dsp:nvSpPr>
      <dsp:spPr>
        <a:xfrm>
          <a:off x="930442" y="525619"/>
          <a:ext cx="2578593" cy="2578593"/>
        </a:xfrm>
        <a:prstGeom prst="ellipse">
          <a:avLst/>
        </a:prstGeom>
        <a:solidFill>
          <a:schemeClr val="accent4">
            <a:alpha val="50000"/>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b="1" kern="1200" dirty="0"/>
            <a:t>Students shows academic growth</a:t>
          </a:r>
        </a:p>
        <a:p>
          <a:pPr marL="0" lvl="0" indent="0" algn="ctr" defTabSz="889000">
            <a:lnSpc>
              <a:spcPct val="90000"/>
            </a:lnSpc>
            <a:spcBef>
              <a:spcPct val="0"/>
            </a:spcBef>
            <a:spcAft>
              <a:spcPct val="35000"/>
            </a:spcAft>
            <a:buNone/>
          </a:pPr>
          <a:endParaRPr lang="en-US" sz="2000" kern="1200" dirty="0"/>
        </a:p>
      </dsp:txBody>
      <dsp:txXfrm>
        <a:off x="1274254" y="976872"/>
        <a:ext cx="1890968" cy="1160366"/>
      </dsp:txXfrm>
    </dsp:sp>
    <dsp:sp modelId="{3DAB186D-09F3-334A-83F2-E124A448D653}">
      <dsp:nvSpPr>
        <dsp:cNvPr id="0" name=""/>
        <dsp:cNvSpPr/>
      </dsp:nvSpPr>
      <dsp:spPr>
        <a:xfrm>
          <a:off x="1860884" y="2137239"/>
          <a:ext cx="2578593" cy="2578593"/>
        </a:xfrm>
        <a:prstGeom prst="ellipse">
          <a:avLst/>
        </a:prstGeom>
        <a:solidFill>
          <a:schemeClr val="accent4">
            <a:alpha val="50000"/>
            <a:hueOff val="5197846"/>
            <a:satOff val="-23984"/>
            <a:lumOff val="883"/>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n-US" sz="1800" b="1" kern="1200" dirty="0"/>
            <a:t>Improved social emotional learning</a:t>
          </a:r>
          <a:endParaRPr lang="en-GB" sz="1800" kern="1200" dirty="0"/>
        </a:p>
      </dsp:txBody>
      <dsp:txXfrm>
        <a:off x="2649504" y="2803376"/>
        <a:ext cx="1547155" cy="1418226"/>
      </dsp:txXfrm>
    </dsp:sp>
    <dsp:sp modelId="{D4276E17-6DE2-C049-BC82-FBA87D372BD8}">
      <dsp:nvSpPr>
        <dsp:cNvPr id="0" name=""/>
        <dsp:cNvSpPr/>
      </dsp:nvSpPr>
      <dsp:spPr>
        <a:xfrm>
          <a:off x="0" y="2137239"/>
          <a:ext cx="2578593" cy="2578593"/>
        </a:xfrm>
        <a:prstGeom prst="ellipse">
          <a:avLst/>
        </a:prstGeom>
        <a:solidFill>
          <a:schemeClr val="accent4">
            <a:alpha val="50000"/>
            <a:hueOff val="10395692"/>
            <a:satOff val="-47968"/>
            <a:lumOff val="1765"/>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r>
            <a:rPr lang="en-GB" sz="2000" b="1" kern="1200" dirty="0"/>
            <a:t>Improved 21</a:t>
          </a:r>
          <a:r>
            <a:rPr lang="en-GB" sz="2000" b="1" kern="1200" baseline="30000" dirty="0"/>
            <a:t>st</a:t>
          </a:r>
          <a:r>
            <a:rPr lang="en-GB" sz="2000" b="1" kern="1200" dirty="0"/>
            <a:t> Century Skills</a:t>
          </a:r>
        </a:p>
      </dsp:txBody>
      <dsp:txXfrm>
        <a:off x="242817" y="2803376"/>
        <a:ext cx="1547155" cy="14182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E19EB8-5D20-8E40-B277-517566CBB5B6}">
      <dsp:nvSpPr>
        <dsp:cNvPr id="0" name=""/>
        <dsp:cNvSpPr/>
      </dsp:nvSpPr>
      <dsp:spPr>
        <a:xfrm>
          <a:off x="0" y="240059"/>
          <a:ext cx="2784726" cy="176830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3A6597-E778-D848-9F5D-6B88AD8766E2}">
      <dsp:nvSpPr>
        <dsp:cNvPr id="0" name=""/>
        <dsp:cNvSpPr/>
      </dsp:nvSpPr>
      <dsp:spPr>
        <a:xfrm>
          <a:off x="309414" y="534002"/>
          <a:ext cx="2784726" cy="176830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effectLst/>
              <a:latin typeface="Calibri" panose="020F0502020204030204" pitchFamily="34" charset="0"/>
              <a:ea typeface="Arial Unicode MS" panose="020B0604020202020204" pitchFamily="34" charset="-128"/>
              <a:cs typeface="Calibri" panose="020F0502020204030204" pitchFamily="34" charset="0"/>
            </a:rPr>
            <a:t>Academic Coverage</a:t>
          </a:r>
        </a:p>
        <a:p>
          <a:pPr marL="0" lvl="0" indent="0" algn="l" defTabSz="800100">
            <a:lnSpc>
              <a:spcPct val="90000"/>
            </a:lnSpc>
            <a:spcBef>
              <a:spcPct val="0"/>
            </a:spcBef>
            <a:spcAft>
              <a:spcPct val="35000"/>
            </a:spcAft>
            <a:buNone/>
          </a:pPr>
          <a:r>
            <a:rPr lang="en-GB" sz="1500" kern="1200" dirty="0">
              <a:effectLst/>
              <a:latin typeface="Calibri" panose="020F0502020204030204" pitchFamily="34" charset="0"/>
              <a:ea typeface="Arial Unicode MS" panose="020B0604020202020204" pitchFamily="34" charset="-128"/>
              <a:cs typeface="Calibri" panose="020F0502020204030204" pitchFamily="34" charset="0"/>
            </a:rPr>
            <a:t>- Learning standards form the basis for all </a:t>
          </a:r>
          <a:r>
            <a:rPr lang="en-GB" sz="1500" kern="1200" dirty="0">
              <a:latin typeface="Calibri" panose="020F0502020204030204" pitchFamily="34" charset="0"/>
              <a:ea typeface="Arial Unicode MS" panose="020B0604020202020204" pitchFamily="34" charset="-128"/>
              <a:cs typeface="Calibri" panose="020F0502020204030204" pitchFamily="34" charset="0"/>
            </a:rPr>
            <a:t>PBL </a:t>
          </a:r>
          <a:r>
            <a:rPr lang="en-GB" sz="1500" kern="1200" dirty="0">
              <a:effectLst/>
              <a:latin typeface="Calibri" panose="020F0502020204030204" pitchFamily="34" charset="0"/>
              <a:ea typeface="Arial Unicode MS" panose="020B0604020202020204" pitchFamily="34" charset="-128"/>
              <a:cs typeface="Calibri" panose="020F0502020204030204" pitchFamily="34" charset="0"/>
            </a:rPr>
            <a:t>projects.</a:t>
          </a:r>
        </a:p>
        <a:p>
          <a:pPr marL="0" lvl="0" indent="0" algn="l" defTabSz="800100">
            <a:lnSpc>
              <a:spcPct val="90000"/>
            </a:lnSpc>
            <a:spcBef>
              <a:spcPct val="0"/>
            </a:spcBef>
            <a:spcAft>
              <a:spcPct val="35000"/>
            </a:spcAft>
            <a:buNone/>
          </a:pPr>
          <a:r>
            <a:rPr lang="en-GB" sz="1500" kern="1200" dirty="0">
              <a:effectLst/>
              <a:latin typeface="Calibri" panose="020F0502020204030204" pitchFamily="34" charset="0"/>
              <a:ea typeface="Arial Unicode MS" panose="020B0604020202020204" pitchFamily="34" charset="-128"/>
              <a:cs typeface="Calibri" panose="020F0502020204030204" pitchFamily="34" charset="0"/>
            </a:rPr>
            <a:t>- Core skills are practiced.</a:t>
          </a:r>
        </a:p>
        <a:p>
          <a:pPr marL="0" lvl="0" indent="0" algn="l" defTabSz="800100">
            <a:lnSpc>
              <a:spcPct val="90000"/>
            </a:lnSpc>
            <a:spcBef>
              <a:spcPct val="0"/>
            </a:spcBef>
            <a:spcAft>
              <a:spcPct val="35000"/>
            </a:spcAft>
            <a:buNone/>
          </a:pPr>
          <a:r>
            <a:rPr lang="en-GB" sz="1500" kern="1200" dirty="0">
              <a:effectLst/>
              <a:latin typeface="Calibri" panose="020F0502020204030204" pitchFamily="34" charset="0"/>
              <a:ea typeface="Arial Unicode MS" panose="020B0604020202020204" pitchFamily="34" charset="-128"/>
              <a:cs typeface="Calibri" panose="020F0502020204030204" pitchFamily="34" charset="0"/>
            </a:rPr>
            <a:t>- Projects align with national and international curricula.</a:t>
          </a:r>
          <a:endParaRPr lang="en-US" sz="1500" kern="1200" dirty="0"/>
        </a:p>
      </dsp:txBody>
      <dsp:txXfrm>
        <a:off x="361206" y="585794"/>
        <a:ext cx="2681142" cy="1664717"/>
      </dsp:txXfrm>
    </dsp:sp>
    <dsp:sp modelId="{DFBE26F0-0249-8D40-9959-ECA1620990CC}">
      <dsp:nvSpPr>
        <dsp:cNvPr id="0" name=""/>
        <dsp:cNvSpPr/>
      </dsp:nvSpPr>
      <dsp:spPr>
        <a:xfrm>
          <a:off x="3403554" y="240059"/>
          <a:ext cx="2784726" cy="176830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AF4DDD-5E55-0F47-83A4-88BB308F721A}">
      <dsp:nvSpPr>
        <dsp:cNvPr id="0" name=""/>
        <dsp:cNvSpPr/>
      </dsp:nvSpPr>
      <dsp:spPr>
        <a:xfrm>
          <a:off x="3712968" y="534002"/>
          <a:ext cx="2784726" cy="176830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effectLst/>
              <a:latin typeface="Calibri" panose="020F0502020204030204" pitchFamily="34" charset="0"/>
              <a:ea typeface="Arial Unicode MS" panose="020B0604020202020204" pitchFamily="34" charset="-128"/>
              <a:cs typeface="Calibri" panose="020F0502020204030204" pitchFamily="34" charset="0"/>
            </a:rPr>
            <a:t>Higher Scores</a:t>
          </a:r>
        </a:p>
        <a:p>
          <a:pPr marL="0" lvl="0" indent="0" algn="l" defTabSz="800100">
            <a:lnSpc>
              <a:spcPct val="90000"/>
            </a:lnSpc>
            <a:spcBef>
              <a:spcPct val="0"/>
            </a:spcBef>
            <a:spcAft>
              <a:spcPct val="35000"/>
            </a:spcAft>
            <a:buNone/>
          </a:pPr>
          <a:r>
            <a:rPr lang="en-GB" sz="1500" b="0" kern="1200" dirty="0">
              <a:effectLst/>
              <a:latin typeface="Calibri" panose="020F0502020204030204" pitchFamily="34" charset="0"/>
              <a:ea typeface="Arial Unicode MS" panose="020B0604020202020204" pitchFamily="34" charset="-128"/>
              <a:cs typeface="Calibri" panose="020F0502020204030204" pitchFamily="34" charset="0"/>
            </a:rPr>
            <a:t>- Students </a:t>
          </a:r>
          <a:r>
            <a:rPr lang="en-GB" sz="1500" kern="1200" dirty="0">
              <a:effectLst/>
              <a:latin typeface="Calibri" panose="020F0502020204030204" pitchFamily="34" charset="0"/>
              <a:ea typeface="Arial Unicode MS" panose="020B0604020202020204" pitchFamily="34" charset="-128"/>
              <a:cs typeface="Calibri" panose="020F0502020204030204" pitchFamily="34" charset="0"/>
            </a:rPr>
            <a:t>learn standards in more depth, ensuring lasting understanding through practical application.</a:t>
          </a:r>
          <a:endParaRPr lang="en-US" sz="1500" b="0" kern="1200" dirty="0"/>
        </a:p>
      </dsp:txBody>
      <dsp:txXfrm>
        <a:off x="3764760" y="585794"/>
        <a:ext cx="2681142" cy="1664717"/>
      </dsp:txXfrm>
    </dsp:sp>
    <dsp:sp modelId="{C1F5BCFE-2DB9-5543-A0F8-429CD56FA92F}">
      <dsp:nvSpPr>
        <dsp:cNvPr id="0" name=""/>
        <dsp:cNvSpPr/>
      </dsp:nvSpPr>
      <dsp:spPr>
        <a:xfrm>
          <a:off x="6807109" y="240059"/>
          <a:ext cx="2784726" cy="176830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FF1CC7-AA20-8F4E-8AD2-4BCC460F807A}">
      <dsp:nvSpPr>
        <dsp:cNvPr id="0" name=""/>
        <dsp:cNvSpPr/>
      </dsp:nvSpPr>
      <dsp:spPr>
        <a:xfrm>
          <a:off x="7116523" y="534002"/>
          <a:ext cx="2784726" cy="176830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t>Goes Beyond Academic</a:t>
          </a:r>
        </a:p>
        <a:p>
          <a:pPr marL="0" lvl="0" indent="0" algn="ctr" defTabSz="800100">
            <a:lnSpc>
              <a:spcPct val="90000"/>
            </a:lnSpc>
            <a:spcBef>
              <a:spcPct val="0"/>
            </a:spcBef>
            <a:spcAft>
              <a:spcPct val="35000"/>
            </a:spcAft>
            <a:buNone/>
          </a:pPr>
          <a:r>
            <a:rPr lang="en-GB" sz="1500" kern="1200" dirty="0"/>
            <a:t>The top skill sets for the future require agency, adaptability, problem-solving, teamwork and communication– all prominent features of PBL.</a:t>
          </a:r>
          <a:endParaRPr lang="en-US" sz="1500" kern="1200" dirty="0"/>
        </a:p>
      </dsp:txBody>
      <dsp:txXfrm>
        <a:off x="7168315" y="585794"/>
        <a:ext cx="2681142" cy="1664717"/>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8428C7-2E1E-478F-81B2-CE1E586BD9ED}" type="datetimeFigureOut">
              <a:rPr lang="en-US" smtClean="0"/>
              <a:t>11/21/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EE6059-A522-4670-A8BD-99CA6C7CB3FE}" type="slidenum">
              <a:rPr lang="en-US" smtClean="0"/>
              <a:t>‹#›</a:t>
            </a:fld>
            <a:endParaRPr lang="en-US" dirty="0"/>
          </a:p>
        </p:txBody>
      </p:sp>
    </p:spTree>
    <p:extLst>
      <p:ext uri="{BB962C8B-B14F-4D97-AF65-F5344CB8AC3E}">
        <p14:creationId xmlns:p14="http://schemas.microsoft.com/office/powerpoint/2010/main" val="42201670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eneral Note: Try to conduct this session with parents before you start the program so that you can tailor the projects selected according to parents' availability at the contextualization stage. </a:t>
            </a:r>
            <a:endParaRPr lang="en-QA" dirty="0"/>
          </a:p>
        </p:txBody>
      </p:sp>
      <p:sp>
        <p:nvSpPr>
          <p:cNvPr id="4" name="Slide Number Placeholder 3"/>
          <p:cNvSpPr>
            <a:spLocks noGrp="1"/>
          </p:cNvSpPr>
          <p:nvPr>
            <p:ph type="sldNum" sz="quarter" idx="5"/>
          </p:nvPr>
        </p:nvSpPr>
        <p:spPr/>
        <p:txBody>
          <a:bodyPr/>
          <a:lstStyle/>
          <a:p>
            <a:fld id="{EBEE6059-A522-4670-A8BD-99CA6C7CB3FE}" type="slidenum">
              <a:rPr lang="en-US" smtClean="0"/>
              <a:t>1</a:t>
            </a:fld>
            <a:endParaRPr lang="en-US" dirty="0"/>
          </a:p>
        </p:txBody>
      </p:sp>
    </p:spTree>
    <p:extLst>
      <p:ext uri="{BB962C8B-B14F-4D97-AF65-F5344CB8AC3E}">
        <p14:creationId xmlns:p14="http://schemas.microsoft.com/office/powerpoint/2010/main" val="4267379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QA" dirty="0"/>
          </a:p>
        </p:txBody>
      </p:sp>
      <p:sp>
        <p:nvSpPr>
          <p:cNvPr id="4" name="Slide Number Placeholder 3"/>
          <p:cNvSpPr>
            <a:spLocks noGrp="1"/>
          </p:cNvSpPr>
          <p:nvPr>
            <p:ph type="sldNum" sz="quarter" idx="5"/>
          </p:nvPr>
        </p:nvSpPr>
        <p:spPr/>
        <p:txBody>
          <a:bodyPr/>
          <a:lstStyle/>
          <a:p>
            <a:fld id="{EBEE6059-A522-4670-A8BD-99CA6C7CB3FE}" type="slidenum">
              <a:rPr lang="en-US" smtClean="0"/>
              <a:t>2</a:t>
            </a:fld>
            <a:endParaRPr lang="en-US" dirty="0"/>
          </a:p>
        </p:txBody>
      </p:sp>
    </p:spTree>
    <p:extLst>
      <p:ext uri="{BB962C8B-B14F-4D97-AF65-F5344CB8AC3E}">
        <p14:creationId xmlns:p14="http://schemas.microsoft.com/office/powerpoint/2010/main" val="1155077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4000" indent="-228600">
              <a:lnSpc>
                <a:spcPct val="90000"/>
              </a:lnSpc>
              <a:spcAft>
                <a:spcPts val="600"/>
              </a:spcAft>
              <a:buSzPct val="100000"/>
              <a:buFont typeface="Arial" panose="020B0604020202020204" pitchFamily="34" charset="0"/>
              <a:buChar char="•"/>
              <a:defRPr/>
            </a:pPr>
            <a:r>
              <a:rPr lang="en-GB" b="1" i="0" u="none" strike="noStrike" dirty="0">
                <a:solidFill>
                  <a:srgbClr val="000000"/>
                </a:solidFill>
                <a:effectLst/>
                <a:latin typeface="Tiempos Text"/>
              </a:rPr>
              <a:t>“Tell me and I forget. Teach me and I remember. Involve me and I learn,” </a:t>
            </a:r>
            <a:r>
              <a:rPr lang="en-GB" i="0" u="none" strike="noStrike" dirty="0">
                <a:solidFill>
                  <a:srgbClr val="000000"/>
                </a:solidFill>
                <a:effectLst/>
                <a:latin typeface="Tiempos Text"/>
              </a:rPr>
              <a:t>is PBL in a nutshell.</a:t>
            </a:r>
          </a:p>
          <a:p>
            <a:endParaRPr lang="en-GB" dirty="0">
              <a:effectLst/>
              <a:latin typeface="Helvetica Neue" panose="02000503000000020004" pitchFamily="2" charset="0"/>
            </a:endParaRPr>
          </a:p>
          <a:p>
            <a:pPr marL="457200" lvl="0" indent="-304800" algn="l" rtl="0">
              <a:lnSpc>
                <a:spcPct val="115000"/>
              </a:lnSpc>
              <a:spcBef>
                <a:spcPts val="0"/>
              </a:spcBef>
              <a:spcAft>
                <a:spcPts val="0"/>
              </a:spcAft>
              <a:buClr>
                <a:schemeClr val="dk1"/>
              </a:buClr>
              <a:buSzPts val="1200"/>
              <a:buFont typeface="Helvetica Neue"/>
              <a:buChar char="-"/>
            </a:pPr>
            <a:r>
              <a:rPr lang="en-GB" sz="1200" dirty="0">
                <a:solidFill>
                  <a:schemeClr val="dk1"/>
                </a:solidFill>
                <a:latin typeface="Helvetica Neue"/>
                <a:ea typeface="Helvetica Neue"/>
                <a:cs typeface="Helvetica Neue"/>
                <a:sym typeface="Helvetica Neue"/>
              </a:rPr>
              <a:t>You remember what it was like in school? You sat in class, memorised as much as you could and tried to pass a test at the end. </a:t>
            </a:r>
          </a:p>
          <a:p>
            <a:pPr marL="457200" lvl="0" indent="-304800" algn="l" rtl="0">
              <a:lnSpc>
                <a:spcPct val="115000"/>
              </a:lnSpc>
              <a:spcBef>
                <a:spcPts val="0"/>
              </a:spcBef>
              <a:spcAft>
                <a:spcPts val="0"/>
              </a:spcAft>
              <a:buClr>
                <a:schemeClr val="dk1"/>
              </a:buClr>
              <a:buSzPts val="1200"/>
              <a:buFont typeface="Helvetica Neue"/>
              <a:buChar char="-"/>
            </a:pPr>
            <a:r>
              <a:rPr lang="en-GB" sz="1200" dirty="0">
                <a:solidFill>
                  <a:schemeClr val="dk1"/>
                </a:solidFill>
                <a:latin typeface="Helvetica Neue"/>
                <a:ea typeface="Helvetica Neue"/>
                <a:cs typeface="Helvetica Neue"/>
                <a:sym typeface="Helvetica Neue"/>
              </a:rPr>
              <a:t>These days, learning could be more effective by focusing on what matters. </a:t>
            </a:r>
          </a:p>
          <a:p>
            <a:pPr marL="457200" lvl="0" indent="-304800" algn="l" rtl="0">
              <a:lnSpc>
                <a:spcPct val="115000"/>
              </a:lnSpc>
              <a:spcBef>
                <a:spcPts val="0"/>
              </a:spcBef>
              <a:spcAft>
                <a:spcPts val="0"/>
              </a:spcAft>
              <a:buClr>
                <a:schemeClr val="dk1"/>
              </a:buClr>
              <a:buSzPts val="1200"/>
              <a:buChar char="-"/>
            </a:pPr>
            <a:r>
              <a:rPr lang="en-GB" sz="1200" dirty="0">
                <a:solidFill>
                  <a:schemeClr val="dk1"/>
                </a:solidFill>
              </a:rPr>
              <a:t>We need to do a better job in preparing students to solve real problems they might encounter.</a:t>
            </a:r>
          </a:p>
          <a:p>
            <a:pPr marL="457200" lvl="0" indent="-304800" algn="l" rtl="0">
              <a:lnSpc>
                <a:spcPct val="115000"/>
              </a:lnSpc>
              <a:spcBef>
                <a:spcPts val="0"/>
              </a:spcBef>
              <a:spcAft>
                <a:spcPts val="0"/>
              </a:spcAft>
              <a:buClr>
                <a:schemeClr val="dk1"/>
              </a:buClr>
              <a:buSzPts val="1200"/>
              <a:buChar char="-"/>
            </a:pPr>
            <a:r>
              <a:rPr lang="en-GB" sz="1200" dirty="0">
                <a:solidFill>
                  <a:schemeClr val="dk1"/>
                </a:solidFill>
              </a:rPr>
              <a:t>How do we do that in the current system of reading textbooks, filling out worksheets, and taking tests?</a:t>
            </a:r>
          </a:p>
          <a:p>
            <a:pPr marL="457200" lvl="0" indent="-304800" algn="l" rtl="0">
              <a:lnSpc>
                <a:spcPct val="115000"/>
              </a:lnSpc>
              <a:spcBef>
                <a:spcPts val="0"/>
              </a:spcBef>
              <a:spcAft>
                <a:spcPts val="0"/>
              </a:spcAft>
              <a:buClr>
                <a:schemeClr val="dk1"/>
              </a:buClr>
              <a:buSzPts val="1200"/>
              <a:buChar char="-"/>
            </a:pPr>
            <a:r>
              <a:rPr lang="en-GB" sz="1200" dirty="0">
                <a:solidFill>
                  <a:schemeClr val="dk1"/>
                </a:solidFill>
              </a:rPr>
              <a:t>How many times in your life have you had to take a test outside of an educational setting?</a:t>
            </a:r>
          </a:p>
          <a:p>
            <a:pPr marL="457200" lvl="0" indent="-304800" algn="l" rtl="0">
              <a:lnSpc>
                <a:spcPct val="115000"/>
              </a:lnSpc>
              <a:spcBef>
                <a:spcPts val="0"/>
              </a:spcBef>
              <a:spcAft>
                <a:spcPts val="0"/>
              </a:spcAft>
              <a:buClr>
                <a:schemeClr val="dk1"/>
              </a:buClr>
              <a:buSzPts val="1200"/>
              <a:buChar char="-"/>
            </a:pPr>
            <a:r>
              <a:rPr lang="en-GB" sz="1200" dirty="0">
                <a:solidFill>
                  <a:schemeClr val="dk1"/>
                </a:solidFill>
                <a:latin typeface="Helvetica Neue"/>
                <a:ea typeface="Helvetica Neue"/>
                <a:cs typeface="Helvetica Neue"/>
                <a:sym typeface="Helvetica Neue"/>
              </a:rPr>
              <a:t>We live in a world of projects, whether it is a job assignment, home improvement, planning a wedding, etc, we need to actively solve problems</a:t>
            </a:r>
            <a:r>
              <a:rPr lang="en-GB" sz="1200" dirty="0">
                <a:solidFill>
                  <a:schemeClr val="dk1"/>
                </a:solidFill>
              </a:rPr>
              <a:t>.</a:t>
            </a:r>
          </a:p>
          <a:p>
            <a:pPr marL="457200" lvl="0" indent="-304800" algn="l" rtl="0">
              <a:lnSpc>
                <a:spcPct val="115000"/>
              </a:lnSpc>
              <a:spcBef>
                <a:spcPts val="0"/>
              </a:spcBef>
              <a:spcAft>
                <a:spcPts val="0"/>
              </a:spcAft>
              <a:buClr>
                <a:schemeClr val="dk1"/>
              </a:buClr>
              <a:buSzPts val="1200"/>
              <a:buChar char="-"/>
            </a:pPr>
            <a:r>
              <a:rPr lang="en-GB" sz="1200" dirty="0">
                <a:solidFill>
                  <a:schemeClr val="dk1"/>
                </a:solidFill>
              </a:rPr>
              <a:t>If we truly want to get students ready for the real world, we should be teaching them how to handle the real-world problem solving of a project.</a:t>
            </a:r>
          </a:p>
          <a:p>
            <a:pPr marL="457200" lvl="0" indent="-304800" algn="l" rtl="0">
              <a:lnSpc>
                <a:spcPct val="115000"/>
              </a:lnSpc>
              <a:spcBef>
                <a:spcPts val="0"/>
              </a:spcBef>
              <a:spcAft>
                <a:spcPts val="0"/>
              </a:spcAft>
              <a:buClr>
                <a:schemeClr val="dk1"/>
              </a:buClr>
              <a:buSzPts val="1200"/>
              <a:buChar char="-"/>
            </a:pPr>
            <a:r>
              <a:rPr lang="en-GB" sz="1200" dirty="0">
                <a:solidFill>
                  <a:schemeClr val="dk1"/>
                </a:solidFill>
                <a:latin typeface="Helvetica Neue"/>
                <a:ea typeface="Helvetica Neue"/>
                <a:cs typeface="Helvetica Neue"/>
                <a:sym typeface="Helvetica Neue"/>
              </a:rPr>
              <a:t>Project-Based Learning could be the solution.</a:t>
            </a:r>
          </a:p>
        </p:txBody>
      </p:sp>
      <p:sp>
        <p:nvSpPr>
          <p:cNvPr id="4" name="Slide Number Placeholder 3"/>
          <p:cNvSpPr>
            <a:spLocks noGrp="1"/>
          </p:cNvSpPr>
          <p:nvPr>
            <p:ph type="sldNum" sz="quarter" idx="5"/>
          </p:nvPr>
        </p:nvSpPr>
        <p:spPr/>
        <p:txBody>
          <a:bodyPr/>
          <a:lstStyle/>
          <a:p>
            <a:fld id="{EBEE6059-A522-4670-A8BD-99CA6C7CB3FE}" type="slidenum">
              <a:rPr lang="en-US" smtClean="0"/>
              <a:t>4</a:t>
            </a:fld>
            <a:endParaRPr lang="en-US" dirty="0"/>
          </a:p>
        </p:txBody>
      </p:sp>
    </p:spTree>
    <p:extLst>
      <p:ext uri="{BB962C8B-B14F-4D97-AF65-F5344CB8AC3E}">
        <p14:creationId xmlns:p14="http://schemas.microsoft.com/office/powerpoint/2010/main" val="3789250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spc="0" normalizeH="0" baseline="0" noProof="0" dirty="0">
                <a:ln>
                  <a:noFill/>
                </a:ln>
                <a:effectLst/>
                <a:uLnTx/>
                <a:uFillTx/>
              </a:rPr>
              <a:t>- </a:t>
            </a:r>
            <a:r>
              <a:rPr kumimoji="0" lang="en-US" sz="1200" b="1" i="0" u="none" strike="noStrike" cap="none" spc="0" normalizeH="0" baseline="0" noProof="0" dirty="0">
                <a:ln>
                  <a:noFill/>
                </a:ln>
                <a:effectLst/>
                <a:uLnTx/>
                <a:uFillTx/>
              </a:rPr>
              <a:t>Focuses on skills and application of learning to go beyond rote memor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spc="0" normalizeH="0" baseline="0" noProof="0" dirty="0">
                <a:ln>
                  <a:noFill/>
                </a:ln>
                <a:effectLst/>
                <a:uLnTx/>
                <a:uFillTx/>
              </a:rPr>
              <a:t>In ABC By Me – students author their own alphabet book using examples from their contexts and understanding phonic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1" i="0" u="none" strike="noStrike" cap="none" spc="0" normalizeH="0" baseline="0" noProof="0" dirty="0">
                <a:ln>
                  <a:noFill/>
                </a:ln>
                <a:effectLst/>
                <a:uLnTx/>
                <a:uFillTx/>
              </a:rPr>
              <a:t>Relevant to students’ real-life environment in order to teach concepts or develop outcomes that are useful for them in lif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cap="none" spc="0" normalizeH="0" baseline="0" noProof="0" dirty="0">
                <a:ln>
                  <a:noFill/>
                </a:ln>
                <a:effectLst/>
                <a:uLnTx/>
                <a:uFillTx/>
              </a:rPr>
              <a:t>Through the Flood Management Project, students learn about science concepts and design their own life jackets and evacuation pla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1" i="0" u="none" strike="noStrike" cap="none" spc="0" normalizeH="0" baseline="0" noProof="0" dirty="0">
                <a:ln>
                  <a:noFill/>
                </a:ln>
                <a:effectLst/>
                <a:uLnTx/>
                <a:uFillTx/>
              </a:rPr>
              <a:t>Energizes students and makes learning fu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cap="none" spc="0" normalizeH="0" baseline="0" noProof="0" dirty="0">
                <a:ln>
                  <a:noFill/>
                </a:ln>
                <a:effectLst/>
                <a:uLnTx/>
                <a:uFillTx/>
              </a:rPr>
              <a:t>In Shadow Play, learners experiment with the properties of light and then make their own shadow puppet theat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cap="none" spc="0" normalizeH="0" baseline="0" noProof="0" dirty="0">
              <a:ln>
                <a:noFill/>
              </a:ln>
              <a:effectLst/>
              <a:uLnTx/>
              <a:uFillTx/>
            </a:endParaRPr>
          </a:p>
          <a:p>
            <a:endParaRPr lang="en-QA" dirty="0"/>
          </a:p>
        </p:txBody>
      </p:sp>
      <p:sp>
        <p:nvSpPr>
          <p:cNvPr id="4" name="Slide Number Placeholder 3"/>
          <p:cNvSpPr>
            <a:spLocks noGrp="1"/>
          </p:cNvSpPr>
          <p:nvPr>
            <p:ph type="sldNum" sz="quarter" idx="5"/>
          </p:nvPr>
        </p:nvSpPr>
        <p:spPr/>
        <p:txBody>
          <a:bodyPr/>
          <a:lstStyle/>
          <a:p>
            <a:fld id="{EBEE6059-A522-4670-A8BD-99CA6C7CB3FE}" type="slidenum">
              <a:rPr lang="en-US" smtClean="0"/>
              <a:t>5</a:t>
            </a:fld>
            <a:endParaRPr lang="en-US" dirty="0"/>
          </a:p>
        </p:txBody>
      </p:sp>
    </p:spTree>
    <p:extLst>
      <p:ext uri="{BB962C8B-B14F-4D97-AF65-F5344CB8AC3E}">
        <p14:creationId xmlns:p14="http://schemas.microsoft.com/office/powerpoint/2010/main" val="1944367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tatistics from 2021 pilo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t>Ask parents: What are 21</a:t>
            </a:r>
            <a:r>
              <a:rPr lang="en-US" sz="1200" b="1" kern="1200" baseline="30000" dirty="0"/>
              <a:t>st</a:t>
            </a:r>
            <a:r>
              <a:rPr lang="en-US" sz="1200" b="1" kern="1200" dirty="0"/>
              <a:t> century skills? Why are they importa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rgbClr val="202124"/>
                </a:solidFill>
                <a:effectLst/>
                <a:latin typeface="arial" panose="020B0604020202020204" pitchFamily="34" charset="0"/>
              </a:rPr>
              <a:t>21</a:t>
            </a:r>
            <a:r>
              <a:rPr lang="en-US" sz="1200" b="1" i="0" u="none" strike="noStrike" kern="1200" baseline="30000" dirty="0">
                <a:solidFill>
                  <a:srgbClr val="202124"/>
                </a:solidFill>
                <a:effectLst/>
                <a:latin typeface="arial" panose="020B0604020202020204" pitchFamily="34" charset="0"/>
              </a:rPr>
              <a:t>st</a:t>
            </a:r>
            <a:r>
              <a:rPr lang="en-US" sz="1200" b="1" i="0" u="none" strike="noStrike" kern="1200" dirty="0">
                <a:solidFill>
                  <a:srgbClr val="202124"/>
                </a:solidFill>
                <a:effectLst/>
                <a:latin typeface="arial" panose="020B0604020202020204" pitchFamily="34" charset="0"/>
              </a:rPr>
              <a:t> century skills </a:t>
            </a:r>
            <a:r>
              <a:rPr lang="en-GB" b="0" i="0" u="none" strike="noStrike" dirty="0">
                <a:solidFill>
                  <a:srgbClr val="202124"/>
                </a:solidFill>
                <a:effectLst/>
                <a:latin typeface="arial" panose="020B0604020202020204" pitchFamily="34" charset="0"/>
              </a:rPr>
              <a:t>include critical thinking/reasoning, creativity/creative thinking, problem solving, collaboration, communication and global citizenshi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QA" b="1" dirty="0"/>
          </a:p>
          <a:p>
            <a:r>
              <a:rPr lang="en-GB" b="1" i="0" u="none" strike="noStrike" dirty="0">
                <a:solidFill>
                  <a:srgbClr val="202124"/>
                </a:solidFill>
                <a:effectLst/>
                <a:latin typeface="arial" panose="020B0604020202020204" pitchFamily="34" charset="0"/>
              </a:rPr>
              <a:t>21</a:t>
            </a:r>
            <a:r>
              <a:rPr lang="en-GB" b="1" i="0" u="none" strike="noStrike" baseline="30000" dirty="0">
                <a:solidFill>
                  <a:srgbClr val="202124"/>
                </a:solidFill>
                <a:effectLst/>
                <a:latin typeface="arial" panose="020B0604020202020204" pitchFamily="34" charset="0"/>
              </a:rPr>
              <a:t>st</a:t>
            </a:r>
            <a:r>
              <a:rPr lang="en-GB" b="1" i="0" u="none" strike="noStrike" dirty="0">
                <a:solidFill>
                  <a:srgbClr val="202124"/>
                </a:solidFill>
                <a:effectLst/>
                <a:latin typeface="arial" panose="020B0604020202020204" pitchFamily="34" charset="0"/>
              </a:rPr>
              <a:t> century skills help learners become more flexible and adaptable in a constantly changing world and workforce, increase their ability to work cross-culturally, and be able to take on positions of leadership</a:t>
            </a:r>
            <a:r>
              <a:rPr lang="en-GB" b="0" i="0" u="none" strike="noStrike" dirty="0">
                <a:solidFill>
                  <a:srgbClr val="202124"/>
                </a:solidFill>
                <a:effectLst/>
                <a:latin typeface="arial" panose="020B0604020202020204" pitchFamily="34" charset="0"/>
              </a:rPr>
              <a:t>.</a:t>
            </a:r>
            <a:endParaRPr lang="en-QA" dirty="0"/>
          </a:p>
        </p:txBody>
      </p:sp>
      <p:sp>
        <p:nvSpPr>
          <p:cNvPr id="4" name="Slide Number Placeholder 3"/>
          <p:cNvSpPr>
            <a:spLocks noGrp="1"/>
          </p:cNvSpPr>
          <p:nvPr>
            <p:ph type="sldNum" sz="quarter" idx="5"/>
          </p:nvPr>
        </p:nvSpPr>
        <p:spPr/>
        <p:txBody>
          <a:bodyPr/>
          <a:lstStyle/>
          <a:p>
            <a:fld id="{EBEE6059-A522-4670-A8BD-99CA6C7CB3FE}" type="slidenum">
              <a:rPr lang="en-US" smtClean="0"/>
              <a:t>6</a:t>
            </a:fld>
            <a:endParaRPr lang="en-US" dirty="0"/>
          </a:p>
        </p:txBody>
      </p:sp>
    </p:spTree>
    <p:extLst>
      <p:ext uri="{BB962C8B-B14F-4D97-AF65-F5344CB8AC3E}">
        <p14:creationId xmlns:p14="http://schemas.microsoft.com/office/powerpoint/2010/main" val="3573038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r>
              <a:rPr lang="en-GB" b="0" dirty="0">
                <a:effectLst/>
                <a:latin typeface="Calibri" panose="020F0502020204030204" pitchFamily="34" charset="0"/>
                <a:ea typeface="Arial Unicode MS" panose="020B0604020202020204" pitchFamily="34" charset="-128"/>
                <a:cs typeface="Calibri" panose="020F0502020204030204" pitchFamily="34" charset="0"/>
              </a:rPr>
              <a:t>in 2021 programs learners grew by 54% on average in academic learning skills.</a:t>
            </a:r>
          </a:p>
        </p:txBody>
      </p:sp>
      <p:sp>
        <p:nvSpPr>
          <p:cNvPr id="4" name="Slide Number Placeholder 3"/>
          <p:cNvSpPr>
            <a:spLocks noGrp="1"/>
          </p:cNvSpPr>
          <p:nvPr>
            <p:ph type="sldNum" sz="quarter" idx="5"/>
          </p:nvPr>
        </p:nvSpPr>
        <p:spPr/>
        <p:txBody>
          <a:bodyPr/>
          <a:lstStyle/>
          <a:p>
            <a:fld id="{EBEE6059-A522-4670-A8BD-99CA6C7CB3FE}" type="slidenum">
              <a:rPr lang="en-US" smtClean="0"/>
              <a:t>9</a:t>
            </a:fld>
            <a:endParaRPr lang="en-US" dirty="0"/>
          </a:p>
        </p:txBody>
      </p:sp>
    </p:spTree>
    <p:extLst>
      <p:ext uri="{BB962C8B-B14F-4D97-AF65-F5344CB8AC3E}">
        <p14:creationId xmlns:p14="http://schemas.microsoft.com/office/powerpoint/2010/main" val="268973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BL doesn’t only cover core subject material but also gives students the chance to spend time engaging in applied, investigative learning.</a:t>
            </a:r>
            <a:r>
              <a:rPr lang="en-US" dirty="0"/>
              <a:t> </a:t>
            </a:r>
            <a:r>
              <a:rPr lang="en-GB" dirty="0"/>
              <a:t>PBL helps equip students to troubleshoot in the real world and develop fundamental skills for living in a knowledge-based society.</a:t>
            </a:r>
            <a:endParaRPr lang="en-US" dirty="0"/>
          </a:p>
          <a:p>
            <a:endParaRPr lang="en-QA" dirty="0"/>
          </a:p>
        </p:txBody>
      </p:sp>
      <p:sp>
        <p:nvSpPr>
          <p:cNvPr id="4" name="Slide Number Placeholder 3"/>
          <p:cNvSpPr>
            <a:spLocks noGrp="1"/>
          </p:cNvSpPr>
          <p:nvPr>
            <p:ph type="sldNum" sz="quarter" idx="5"/>
          </p:nvPr>
        </p:nvSpPr>
        <p:spPr/>
        <p:txBody>
          <a:bodyPr/>
          <a:lstStyle/>
          <a:p>
            <a:fld id="{EBEE6059-A522-4670-A8BD-99CA6C7CB3FE}" type="slidenum">
              <a:rPr lang="en-US" smtClean="0"/>
              <a:t>10</a:t>
            </a:fld>
            <a:endParaRPr lang="en-US" dirty="0"/>
          </a:p>
        </p:txBody>
      </p:sp>
    </p:spTree>
    <p:extLst>
      <p:ext uri="{BB962C8B-B14F-4D97-AF65-F5344CB8AC3E}">
        <p14:creationId xmlns:p14="http://schemas.microsoft.com/office/powerpoint/2010/main" val="435454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QA" dirty="0"/>
          </a:p>
        </p:txBody>
      </p:sp>
      <p:sp>
        <p:nvSpPr>
          <p:cNvPr id="4" name="Slide Number Placeholder 3"/>
          <p:cNvSpPr>
            <a:spLocks noGrp="1"/>
          </p:cNvSpPr>
          <p:nvPr>
            <p:ph type="sldNum" sz="quarter" idx="10"/>
          </p:nvPr>
        </p:nvSpPr>
        <p:spPr/>
        <p:txBody>
          <a:bodyPr/>
          <a:lstStyle/>
          <a:p>
            <a:fld id="{EBEE6059-A522-4670-A8BD-99CA6C7CB3FE}" type="slidenum">
              <a:rPr lang="en-US" smtClean="0"/>
              <a:t>12</a:t>
            </a:fld>
            <a:endParaRPr lang="en-US" dirty="0"/>
          </a:p>
        </p:txBody>
      </p:sp>
    </p:spTree>
    <p:extLst>
      <p:ext uri="{BB962C8B-B14F-4D97-AF65-F5344CB8AC3E}">
        <p14:creationId xmlns:p14="http://schemas.microsoft.com/office/powerpoint/2010/main" val="1764156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QA" dirty="0"/>
          </a:p>
        </p:txBody>
      </p:sp>
      <p:sp>
        <p:nvSpPr>
          <p:cNvPr id="4" name="Slide Number Placeholder 3"/>
          <p:cNvSpPr>
            <a:spLocks noGrp="1"/>
          </p:cNvSpPr>
          <p:nvPr>
            <p:ph type="sldNum" sz="quarter" idx="5"/>
          </p:nvPr>
        </p:nvSpPr>
        <p:spPr/>
        <p:txBody>
          <a:bodyPr/>
          <a:lstStyle/>
          <a:p>
            <a:fld id="{EBEE6059-A522-4670-A8BD-99CA6C7CB3FE}" type="slidenum">
              <a:rPr lang="en-US" smtClean="0"/>
              <a:t>13</a:t>
            </a:fld>
            <a:endParaRPr lang="en-US" dirty="0"/>
          </a:p>
        </p:txBody>
      </p:sp>
    </p:spTree>
    <p:extLst>
      <p:ext uri="{BB962C8B-B14F-4D97-AF65-F5344CB8AC3E}">
        <p14:creationId xmlns:p14="http://schemas.microsoft.com/office/powerpoint/2010/main" val="511502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403062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519495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947050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2253202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794647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2949799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26894528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35185743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3664929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738499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F720266-C02D-4BDD-94CB-2C88F9662D09}" type="datetimeFigureOut">
              <a:rPr lang="en-US" smtClean="0"/>
              <a:t>11/21/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3C17407-FD9C-4A37-B1B1-63779BC27C25}" type="slidenum">
              <a:rPr lang="en-US" smtClean="0"/>
              <a:t>‹#›</a:t>
            </a:fld>
            <a:endParaRPr lang="en-US" dirty="0"/>
          </a:p>
        </p:txBody>
      </p:sp>
    </p:spTree>
    <p:extLst>
      <p:ext uri="{BB962C8B-B14F-4D97-AF65-F5344CB8AC3E}">
        <p14:creationId xmlns:p14="http://schemas.microsoft.com/office/powerpoint/2010/main" val="9525473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720266-C02D-4BDD-94CB-2C88F9662D09}" type="datetimeFigureOut">
              <a:rPr lang="en-US" smtClean="0"/>
              <a:t>11/21/2025</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9367982" y="649287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C17407-FD9C-4A37-B1B1-63779BC27C25}" type="slidenum">
              <a:rPr lang="en-US" smtClean="0"/>
              <a:t>‹#›</a:t>
            </a:fld>
            <a:endParaRPr lang="en-US" dirty="0"/>
          </a:p>
        </p:txBody>
      </p:sp>
    </p:spTree>
    <p:extLst>
      <p:ext uri="{BB962C8B-B14F-4D97-AF65-F5344CB8AC3E}">
        <p14:creationId xmlns:p14="http://schemas.microsoft.com/office/powerpoint/2010/main" val="27421976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sv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s>
</file>

<file path=ppt/slides/_rels/slide11.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52.svg"/><Relationship Id="rId3" Type="http://schemas.openxmlformats.org/officeDocument/2006/relationships/image" Target="../media/image78.svg"/><Relationship Id="rId7" Type="http://schemas.openxmlformats.org/officeDocument/2006/relationships/image" Target="../media/image82.svg"/><Relationship Id="rId12" Type="http://schemas.openxmlformats.org/officeDocument/2006/relationships/image" Target="../media/image51.png"/><Relationship Id="rId2" Type="http://schemas.openxmlformats.org/officeDocument/2006/relationships/image" Target="../media/image77.png"/><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image" Target="../media/image80.sv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sv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2.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14.svg"/><Relationship Id="rId18" Type="http://schemas.openxmlformats.org/officeDocument/2006/relationships/image" Target="../media/image19.png"/><Relationship Id="rId3" Type="http://schemas.openxmlformats.org/officeDocument/2006/relationships/image" Target="../media/image9.jpeg"/><Relationship Id="rId21" Type="http://schemas.openxmlformats.org/officeDocument/2006/relationships/image" Target="../media/image22.png"/><Relationship Id="rId7" Type="http://schemas.openxmlformats.org/officeDocument/2006/relationships/diagramQuickStyle" Target="../diagrams/quickStyle1.xml"/><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notesSlide" Target="../notesSlides/notesSlide3.xml"/><Relationship Id="rId16" Type="http://schemas.openxmlformats.org/officeDocument/2006/relationships/image" Target="../media/image17.png"/><Relationship Id="rId20" Type="http://schemas.openxmlformats.org/officeDocument/2006/relationships/image" Target="../media/image21.jpeg"/><Relationship Id="rId1" Type="http://schemas.openxmlformats.org/officeDocument/2006/relationships/slideLayout" Target="../slideLayouts/slideLayout6.xml"/><Relationship Id="rId6" Type="http://schemas.openxmlformats.org/officeDocument/2006/relationships/diagramLayout" Target="../diagrams/layout1.xml"/><Relationship Id="rId11" Type="http://schemas.openxmlformats.org/officeDocument/2006/relationships/image" Target="../media/image12.png"/><Relationship Id="rId5" Type="http://schemas.openxmlformats.org/officeDocument/2006/relationships/diagramData" Target="../diagrams/data1.xml"/><Relationship Id="rId15" Type="http://schemas.openxmlformats.org/officeDocument/2006/relationships/image" Target="../media/image16.svg"/><Relationship Id="rId23" Type="http://schemas.openxmlformats.org/officeDocument/2006/relationships/image" Target="../media/image24.jpeg"/><Relationship Id="rId10" Type="http://schemas.openxmlformats.org/officeDocument/2006/relationships/image" Target="../media/image11.png"/><Relationship Id="rId19" Type="http://schemas.openxmlformats.org/officeDocument/2006/relationships/image" Target="../media/image20.svg"/><Relationship Id="rId4" Type="http://schemas.openxmlformats.org/officeDocument/2006/relationships/image" Target="../media/image10.jpeg"/><Relationship Id="rId9" Type="http://schemas.microsoft.com/office/2007/relationships/diagramDrawing" Target="../diagrams/drawing1.xml"/><Relationship Id="rId14" Type="http://schemas.openxmlformats.org/officeDocument/2006/relationships/image" Target="../media/image15.png"/><Relationship Id="rId22" Type="http://schemas.openxmlformats.org/officeDocument/2006/relationships/image" Target="../media/image23.jpg"/></Relationships>
</file>

<file path=ppt/slides/_rels/slide5.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3" Type="http://schemas.openxmlformats.org/officeDocument/2006/relationships/image" Target="../media/image25.jpeg"/><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 Type="http://schemas.openxmlformats.org/officeDocument/2006/relationships/notesSlide" Target="../notesSlides/notesSlide4.xml"/><Relationship Id="rId16" Type="http://schemas.openxmlformats.org/officeDocument/2006/relationships/image" Target="../media/image38.svg"/><Relationship Id="rId20" Type="http://schemas.openxmlformats.org/officeDocument/2006/relationships/image" Target="../media/image42.svg"/><Relationship Id="rId1" Type="http://schemas.openxmlformats.org/officeDocument/2006/relationships/slideLayout" Target="../slideLayouts/slideLayout6.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jpeg"/><Relationship Id="rId15" Type="http://schemas.openxmlformats.org/officeDocument/2006/relationships/image" Target="../media/image37.png"/><Relationship Id="rId10" Type="http://schemas.openxmlformats.org/officeDocument/2006/relationships/image" Target="../media/image32.svg"/><Relationship Id="rId19" Type="http://schemas.openxmlformats.org/officeDocument/2006/relationships/image" Target="../media/image41.png"/><Relationship Id="rId4" Type="http://schemas.openxmlformats.org/officeDocument/2006/relationships/image" Target="../media/image26.jpeg"/><Relationship Id="rId9" Type="http://schemas.openxmlformats.org/officeDocument/2006/relationships/image" Target="../media/image31.png"/><Relationship Id="rId14" Type="http://schemas.openxmlformats.org/officeDocument/2006/relationships/image" Target="../media/image36.svg"/><Relationship Id="rId22" Type="http://schemas.openxmlformats.org/officeDocument/2006/relationships/image" Target="../media/image44.sv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jpe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9.jp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2.xml"/><Relationship Id="rId11" Type="http://schemas.openxmlformats.org/officeDocument/2006/relationships/image" Target="../media/image48.svg"/><Relationship Id="rId5" Type="http://schemas.openxmlformats.org/officeDocument/2006/relationships/diagramQuickStyle" Target="../diagrams/quickStyle2.xml"/><Relationship Id="rId10" Type="http://schemas.openxmlformats.org/officeDocument/2006/relationships/image" Target="../media/image47.png"/><Relationship Id="rId4" Type="http://schemas.openxmlformats.org/officeDocument/2006/relationships/diagramLayout" Target="../diagrams/layout2.xml"/><Relationship Id="rId9" Type="http://schemas.openxmlformats.org/officeDocument/2006/relationships/image" Target="../media/image46.svg"/></Relationships>
</file>

<file path=ppt/slides/_rels/slide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52.svg"/><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image" Target="../media/image54.png"/><Relationship Id="rId11" Type="http://schemas.openxmlformats.org/officeDocument/2006/relationships/image" Target="../media/image59.svg"/><Relationship Id="rId5" Type="http://schemas.microsoft.com/office/2007/relationships/hdphoto" Target="../media/hdphoto1.wdp"/><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svg"/><Relationship Id="rId14" Type="http://schemas.openxmlformats.org/officeDocument/2006/relationships/image" Target="../media/image62.png"/></Relationships>
</file>

<file path=ppt/slides/_rels/slide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66.png"/><Relationship Id="rId4" Type="http://schemas.openxmlformats.org/officeDocument/2006/relationships/diagramLayout" Target="../diagrams/layout3.xml"/><Relationship Id="rId9"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20" name="Rectangle 9">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11">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extBox 4">
            <a:extLst>
              <a:ext uri="{FF2B5EF4-FFF2-40B4-BE49-F238E27FC236}">
                <a16:creationId xmlns:a16="http://schemas.microsoft.com/office/drawing/2014/main" id="{B9DF95C9-92D2-46E6-E50D-AF1A80C1669A}"/>
              </a:ext>
            </a:extLst>
          </p:cNvPr>
          <p:cNvSpPr txBox="1"/>
          <p:nvPr/>
        </p:nvSpPr>
        <p:spPr>
          <a:xfrm>
            <a:off x="4530362" y="661987"/>
            <a:ext cx="4780005" cy="874714"/>
          </a:xfrm>
          <a:prstGeom prst="rect">
            <a:avLst/>
          </a:prstGeom>
        </p:spPr>
        <p:txBody>
          <a:bodyPr vert="horz" lIns="91440" tIns="45720" rIns="91440" bIns="45720" rtlCol="0" anchor="ctr">
            <a:normAutofit fontScale="77500" lnSpcReduction="20000"/>
          </a:bodyPr>
          <a:lstStyle/>
          <a:p>
            <a:pPr>
              <a:lnSpc>
                <a:spcPct val="90000"/>
              </a:lnSpc>
              <a:spcBef>
                <a:spcPct val="0"/>
              </a:spcBef>
              <a:spcAft>
                <a:spcPts val="600"/>
              </a:spcAft>
            </a:pPr>
            <a:r>
              <a:rPr lang="en-US" sz="4400" b="1" i="1" kern="1200" dirty="0">
                <a:solidFill>
                  <a:schemeClr val="accent1"/>
                </a:solidFill>
                <a:latin typeface="Calibri" panose="020F0502020204030204" pitchFamily="34" charset="0"/>
                <a:ea typeface="+mj-ea"/>
                <a:cs typeface="Calibri" panose="020F0502020204030204" pitchFamily="34" charset="0"/>
              </a:rPr>
              <a:t>Before implementing PBL</a:t>
            </a:r>
          </a:p>
        </p:txBody>
      </p:sp>
      <p:sp>
        <p:nvSpPr>
          <p:cNvPr id="22" name="Arc 13">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 name="TextBox 3">
            <a:extLst>
              <a:ext uri="{FF2B5EF4-FFF2-40B4-BE49-F238E27FC236}">
                <a16:creationId xmlns:a16="http://schemas.microsoft.com/office/drawing/2014/main" id="{3CF7D80C-BCD3-8E41-59B2-8F753A969EA5}"/>
              </a:ext>
            </a:extLst>
          </p:cNvPr>
          <p:cNvSpPr txBox="1"/>
          <p:nvPr/>
        </p:nvSpPr>
        <p:spPr>
          <a:xfrm>
            <a:off x="1035734" y="1690688"/>
            <a:ext cx="10120532" cy="4351338"/>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sz="1600" dirty="0">
                <a:effectLst/>
              </a:rPr>
              <a:t>If you begin implementing project-based learning without explaining it to parents, they might become confused about the expectations you have for their children, and in their frustration, they may paint the process as a negative one. If you clearly explain your reasoning for using PBL, then </a:t>
            </a:r>
            <a:r>
              <a:rPr lang="en-US" sz="1600" b="1" dirty="0">
                <a:effectLst/>
              </a:rPr>
              <a:t>parents will often prove to be your greatest allies</a:t>
            </a:r>
            <a:r>
              <a:rPr lang="en-US" sz="1600" dirty="0">
                <a:effectLst/>
              </a:rPr>
              <a:t>. </a:t>
            </a:r>
            <a:endParaRPr lang="en-US" sz="1600" dirty="0"/>
          </a:p>
          <a:p>
            <a:pPr indent="-228600">
              <a:lnSpc>
                <a:spcPct val="90000"/>
              </a:lnSpc>
              <a:spcAft>
                <a:spcPts val="600"/>
              </a:spcAft>
              <a:buFont typeface="Arial" panose="020B0604020202020204" pitchFamily="34" charset="0"/>
              <a:buChar char="•"/>
            </a:pPr>
            <a:endParaRPr lang="en-US" sz="1600" dirty="0">
              <a:effectLst/>
            </a:endParaRPr>
          </a:p>
          <a:p>
            <a:pPr marL="285750" indent="-228600">
              <a:lnSpc>
                <a:spcPct val="90000"/>
              </a:lnSpc>
              <a:spcAft>
                <a:spcPts val="600"/>
              </a:spcAft>
              <a:buFont typeface="Arial" panose="020B0604020202020204" pitchFamily="34" charset="0"/>
              <a:buChar char="•"/>
            </a:pPr>
            <a:r>
              <a:rPr lang="en-US" sz="1600" b="1" dirty="0"/>
              <a:t>H</a:t>
            </a:r>
            <a:r>
              <a:rPr lang="en-US" sz="1600" b="1" dirty="0">
                <a:effectLst/>
              </a:rPr>
              <a:t>old a meeting </a:t>
            </a:r>
            <a:r>
              <a:rPr lang="en-US" sz="1600" dirty="0">
                <a:effectLst/>
              </a:rPr>
              <a:t>with parents to explain to them the philosophy and the processes of using project-based learning. In this meeting, </a:t>
            </a:r>
            <a:r>
              <a:rPr lang="en-US" sz="1600" b="1" dirty="0">
                <a:effectLst/>
              </a:rPr>
              <a:t>discuss the advantages to using PBL </a:t>
            </a:r>
            <a:r>
              <a:rPr lang="en-US" sz="1600" dirty="0">
                <a:effectLst/>
              </a:rPr>
              <a:t>and </a:t>
            </a:r>
            <a:r>
              <a:rPr lang="en-US" sz="1600" b="1" dirty="0">
                <a:effectLst/>
              </a:rPr>
              <a:t>what it will look like </a:t>
            </a:r>
            <a:r>
              <a:rPr lang="en-US" sz="1600" dirty="0">
                <a:effectLst/>
              </a:rPr>
              <a:t>from their perspective when students bring home work that is unlike what they are used to seeing.</a:t>
            </a:r>
          </a:p>
          <a:p>
            <a:pPr marL="285750" indent="-228600">
              <a:lnSpc>
                <a:spcPct val="90000"/>
              </a:lnSpc>
              <a:spcAft>
                <a:spcPts val="600"/>
              </a:spcAft>
              <a:buFont typeface="Arial" panose="020B0604020202020204" pitchFamily="34" charset="0"/>
              <a:buChar char="•"/>
            </a:pPr>
            <a:endParaRPr lang="en-US" sz="1600" dirty="0">
              <a:effectLst/>
            </a:endParaRPr>
          </a:p>
          <a:p>
            <a:pPr marL="285750" indent="-228600">
              <a:lnSpc>
                <a:spcPct val="90000"/>
              </a:lnSpc>
              <a:spcAft>
                <a:spcPts val="600"/>
              </a:spcAft>
              <a:buFont typeface="Arial" panose="020B0604020202020204" pitchFamily="34" charset="0"/>
              <a:buChar char="•"/>
            </a:pPr>
            <a:r>
              <a:rPr lang="en-US" sz="1600" dirty="0">
                <a:effectLst/>
              </a:rPr>
              <a:t>Many parents expect that their children's education will be just like their own. If a child doesn't come home with a worksheet or a set of problems from a book, parents may be concerned that nothing is being accomplished. PBL is foreign to them, and </a:t>
            </a:r>
            <a:r>
              <a:rPr lang="en-US" sz="1600" b="1" dirty="0">
                <a:effectLst/>
              </a:rPr>
              <a:t>it is important that they understand it </a:t>
            </a:r>
            <a:r>
              <a:rPr lang="en-US" sz="1600" dirty="0">
                <a:effectLst/>
              </a:rPr>
              <a:t>so that they can support their children and your efforts in the classroom. </a:t>
            </a:r>
            <a:r>
              <a:rPr lang="en-US" sz="1600" dirty="0"/>
              <a:t>Remember </a:t>
            </a:r>
            <a:r>
              <a:rPr lang="en-US" sz="1600" dirty="0">
                <a:effectLst/>
              </a:rPr>
              <a:t>to be thorough in your explanation of PBL.</a:t>
            </a:r>
          </a:p>
          <a:p>
            <a:pPr marL="285750" indent="-228600">
              <a:lnSpc>
                <a:spcPct val="90000"/>
              </a:lnSpc>
              <a:spcAft>
                <a:spcPts val="600"/>
              </a:spcAft>
              <a:buFont typeface="Arial" panose="020B0604020202020204" pitchFamily="34" charset="0"/>
              <a:buChar char="•"/>
            </a:pPr>
            <a:endParaRPr lang="en-US" sz="1600" dirty="0"/>
          </a:p>
          <a:p>
            <a:pPr marL="285750" indent="-228600">
              <a:lnSpc>
                <a:spcPct val="90000"/>
              </a:lnSpc>
              <a:spcAft>
                <a:spcPts val="600"/>
              </a:spcAft>
              <a:buFont typeface="Arial" panose="020B0604020202020204" pitchFamily="34" charset="0"/>
              <a:buChar char="•"/>
            </a:pPr>
            <a:r>
              <a:rPr lang="en-US" sz="1600" dirty="0"/>
              <a:t>We prepared this</a:t>
            </a:r>
            <a:r>
              <a:rPr lang="en-US" sz="1600" dirty="0">
                <a:effectLst/>
              </a:rPr>
              <a:t> PowerPoint presentation for you to help you </a:t>
            </a:r>
            <a:r>
              <a:rPr lang="en-US" sz="1600" b="1" dirty="0">
                <a:effectLst/>
              </a:rPr>
              <a:t>explain </a:t>
            </a:r>
            <a:r>
              <a:rPr lang="en-US" sz="1600" b="1" dirty="0"/>
              <a:t>PBL to parents</a:t>
            </a:r>
            <a:r>
              <a:rPr lang="en-US" sz="1600" dirty="0">
                <a:effectLst/>
              </a:rPr>
              <a:t>. You can also provide a sample project so that parents can see for themselves what PBL might look like.</a:t>
            </a:r>
          </a:p>
        </p:txBody>
      </p:sp>
      <p:sp>
        <p:nvSpPr>
          <p:cNvPr id="2" name="Rectangle 1">
            <a:extLst>
              <a:ext uri="{FF2B5EF4-FFF2-40B4-BE49-F238E27FC236}">
                <a16:creationId xmlns:a16="http://schemas.microsoft.com/office/drawing/2014/main" id="{E9D1493D-8BC4-4505-ED02-00B965016BE0}"/>
              </a:ext>
            </a:extLst>
          </p:cNvPr>
          <p:cNvSpPr/>
          <p:nvPr/>
        </p:nvSpPr>
        <p:spPr>
          <a:xfrm>
            <a:off x="-1" y="300637"/>
            <a:ext cx="2681417" cy="506760"/>
          </a:xfrm>
          <a:prstGeom prst="rect">
            <a:avLst/>
          </a:prstGeom>
          <a:solidFill>
            <a:schemeClr val="accent1">
              <a:lumMod val="60000"/>
              <a:lumOff val="40000"/>
            </a:schemeClr>
          </a:solidFill>
          <a:ln w="12700" cap="flat" cmpd="sng" algn="ctr">
            <a:solidFill>
              <a:schemeClr val="accent1"/>
            </a:solid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lang="en-US" sz="2400" b="1" kern="0" dirty="0">
                <a:solidFill>
                  <a:schemeClr val="bg1"/>
                </a:solidFill>
                <a:latin typeface="Calibri" panose="020F0502020204030204"/>
              </a:rPr>
              <a:t>Note to Facilitators</a:t>
            </a:r>
            <a:endParaRPr kumimoji="0" lang="en-US" sz="2400" b="1" i="0" u="none" strike="noStrike" kern="0" cap="none" spc="0" normalizeH="0" baseline="0" noProof="0" dirty="0">
              <a:ln>
                <a:noFill/>
              </a:ln>
              <a:solidFill>
                <a:schemeClr val="bg1"/>
              </a:solidFill>
              <a:effectLst/>
              <a:uLnTx/>
              <a:uFillTx/>
              <a:latin typeface="Calibri" panose="020F0502020204030204"/>
              <a:ea typeface="+mn-ea"/>
              <a:cs typeface="+mn-cs"/>
            </a:endParaRPr>
          </a:p>
        </p:txBody>
      </p:sp>
      <p:pic>
        <p:nvPicPr>
          <p:cNvPr id="6" name="Picture 5" descr="Icon&#10;&#10;Description automatically generated">
            <a:extLst>
              <a:ext uri="{FF2B5EF4-FFF2-40B4-BE49-F238E27FC236}">
                <a16:creationId xmlns:a16="http://schemas.microsoft.com/office/drawing/2014/main" id="{F3E3332F-9D8D-3B7E-DA36-A7817B6F5D93}"/>
              </a:ext>
            </a:extLst>
          </p:cNvPr>
          <p:cNvPicPr>
            <a:picLocks noChangeAspect="1"/>
          </p:cNvPicPr>
          <p:nvPr/>
        </p:nvPicPr>
        <p:blipFill>
          <a:blip r:embed="rId3">
            <a:clrChange>
              <a:clrFrom>
                <a:srgbClr val="F9FAF8"/>
              </a:clrFrom>
              <a:clrTo>
                <a:srgbClr val="F9FAF8">
                  <a:alpha val="0"/>
                </a:srgbClr>
              </a:clrTo>
            </a:clrChange>
            <a:extLst>
              <a:ext uri="{28A0092B-C50C-407E-A947-70E740481C1C}">
                <a14:useLocalDpi xmlns:a14="http://schemas.microsoft.com/office/drawing/2010/main"/>
              </a:ext>
            </a:extLst>
          </a:blip>
          <a:stretch>
            <a:fillRect/>
          </a:stretch>
        </p:blipFill>
        <p:spPr>
          <a:xfrm>
            <a:off x="2815359" y="134639"/>
            <a:ext cx="1581059" cy="1479055"/>
          </a:xfrm>
          <a:prstGeom prst="rect">
            <a:avLst/>
          </a:prstGeom>
        </p:spPr>
      </p:pic>
    </p:spTree>
    <p:extLst>
      <p:ext uri="{BB962C8B-B14F-4D97-AF65-F5344CB8AC3E}">
        <p14:creationId xmlns:p14="http://schemas.microsoft.com/office/powerpoint/2010/main" val="600336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a:extLst>
              <a:ext uri="{FF2B5EF4-FFF2-40B4-BE49-F238E27FC236}">
                <a16:creationId xmlns:a16="http://schemas.microsoft.com/office/drawing/2014/main" id="{E5849B2E-292F-99D5-F1C6-B177853F501C}"/>
              </a:ext>
            </a:extLst>
          </p:cNvPr>
          <p:cNvSpPr/>
          <p:nvPr/>
        </p:nvSpPr>
        <p:spPr>
          <a:xfrm>
            <a:off x="872000" y="5527098"/>
            <a:ext cx="10714323" cy="1095426"/>
          </a:xfrm>
          <a:custGeom>
            <a:avLst/>
            <a:gdLst>
              <a:gd name="csX0" fmla="*/ 0 w 10714323"/>
              <a:gd name="csY0" fmla="*/ 182575 h 1095426"/>
              <a:gd name="csX1" fmla="*/ 182575 w 10714323"/>
              <a:gd name="csY1" fmla="*/ 0 h 1095426"/>
              <a:gd name="csX2" fmla="*/ 10531748 w 10714323"/>
              <a:gd name="csY2" fmla="*/ 0 h 1095426"/>
              <a:gd name="csX3" fmla="*/ 10714323 w 10714323"/>
              <a:gd name="csY3" fmla="*/ 182575 h 1095426"/>
              <a:gd name="csX4" fmla="*/ 10714323 w 10714323"/>
              <a:gd name="csY4" fmla="*/ 912851 h 1095426"/>
              <a:gd name="csX5" fmla="*/ 10531748 w 10714323"/>
              <a:gd name="csY5" fmla="*/ 1095426 h 1095426"/>
              <a:gd name="csX6" fmla="*/ 182575 w 10714323"/>
              <a:gd name="csY6" fmla="*/ 1095426 h 1095426"/>
              <a:gd name="csX7" fmla="*/ 0 w 10714323"/>
              <a:gd name="csY7" fmla="*/ 912851 h 1095426"/>
              <a:gd name="csX8" fmla="*/ 0 w 10714323"/>
              <a:gd name="csY8" fmla="*/ 182575 h 10954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714323" h="1095426" fill="none" extrusionOk="0">
                <a:moveTo>
                  <a:pt x="0" y="182575"/>
                </a:moveTo>
                <a:cubicBezTo>
                  <a:pt x="-12424" y="79732"/>
                  <a:pt x="84288" y="2082"/>
                  <a:pt x="182575" y="0"/>
                </a:cubicBezTo>
                <a:cubicBezTo>
                  <a:pt x="2944580" y="130954"/>
                  <a:pt x="8385417" y="43574"/>
                  <a:pt x="10531748" y="0"/>
                </a:cubicBezTo>
                <a:cubicBezTo>
                  <a:pt x="10641637" y="13949"/>
                  <a:pt x="10715172" y="82782"/>
                  <a:pt x="10714323" y="182575"/>
                </a:cubicBezTo>
                <a:cubicBezTo>
                  <a:pt x="10678265" y="306717"/>
                  <a:pt x="10689016" y="749982"/>
                  <a:pt x="10714323" y="912851"/>
                </a:cubicBezTo>
                <a:cubicBezTo>
                  <a:pt x="10708866" y="1014580"/>
                  <a:pt x="10624204" y="1089646"/>
                  <a:pt x="10531748" y="1095426"/>
                </a:cubicBezTo>
                <a:cubicBezTo>
                  <a:pt x="5361830" y="1250623"/>
                  <a:pt x="1982824" y="1258446"/>
                  <a:pt x="182575" y="1095426"/>
                </a:cubicBezTo>
                <a:cubicBezTo>
                  <a:pt x="82301" y="1087862"/>
                  <a:pt x="-1882" y="1014783"/>
                  <a:pt x="0" y="912851"/>
                </a:cubicBezTo>
                <a:cubicBezTo>
                  <a:pt x="-46036" y="731023"/>
                  <a:pt x="9620" y="323448"/>
                  <a:pt x="0" y="182575"/>
                </a:cubicBezTo>
                <a:close/>
              </a:path>
              <a:path w="10714323" h="1095426" stroke="0" extrusionOk="0">
                <a:moveTo>
                  <a:pt x="0" y="182575"/>
                </a:moveTo>
                <a:cubicBezTo>
                  <a:pt x="-6002" y="78040"/>
                  <a:pt x="71118" y="3987"/>
                  <a:pt x="182575" y="0"/>
                </a:cubicBezTo>
                <a:cubicBezTo>
                  <a:pt x="2143390" y="132882"/>
                  <a:pt x="6255640" y="-84951"/>
                  <a:pt x="10531748" y="0"/>
                </a:cubicBezTo>
                <a:cubicBezTo>
                  <a:pt x="10628851" y="3643"/>
                  <a:pt x="10713124" y="88371"/>
                  <a:pt x="10714323" y="182575"/>
                </a:cubicBezTo>
                <a:cubicBezTo>
                  <a:pt x="10737659" y="503184"/>
                  <a:pt x="10766541" y="675731"/>
                  <a:pt x="10714323" y="912851"/>
                </a:cubicBezTo>
                <a:cubicBezTo>
                  <a:pt x="10724675" y="1014912"/>
                  <a:pt x="10641315" y="1077452"/>
                  <a:pt x="10531748" y="1095426"/>
                </a:cubicBezTo>
                <a:cubicBezTo>
                  <a:pt x="6772673" y="1183065"/>
                  <a:pt x="3919682" y="1022747"/>
                  <a:pt x="182575" y="1095426"/>
                </a:cubicBezTo>
                <a:cubicBezTo>
                  <a:pt x="80134" y="1080092"/>
                  <a:pt x="-5734" y="1021653"/>
                  <a:pt x="0" y="912851"/>
                </a:cubicBezTo>
                <a:cubicBezTo>
                  <a:pt x="-14038" y="691536"/>
                  <a:pt x="8033" y="487336"/>
                  <a:pt x="0" y="182575"/>
                </a:cubicBezTo>
                <a:close/>
              </a:path>
            </a:pathLst>
          </a:custGeom>
          <a:solidFill>
            <a:schemeClr val="accent1">
              <a:lumMod val="40000"/>
              <a:lumOff val="60000"/>
            </a:schemeClr>
          </a:solidFill>
          <a:ln>
            <a:solidFill>
              <a:schemeClr val="accent1">
                <a:lumMod val="50000"/>
              </a:schemeClr>
            </a:solidFill>
            <a:extLst>
              <a:ext uri="{C807C97D-BFC1-408E-A445-0C87EB9F89A2}">
                <ask:lineSketchStyleProps xmlns:ask="http://schemas.microsoft.com/office/drawing/2018/sketchyshapes" sd="1219033472">
                  <a:prstGeom prst="round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QA" dirty="0"/>
          </a:p>
        </p:txBody>
      </p:sp>
      <p:sp>
        <p:nvSpPr>
          <p:cNvPr id="3" name="Rectangle 2">
            <a:extLst>
              <a:ext uri="{FF2B5EF4-FFF2-40B4-BE49-F238E27FC236}">
                <a16:creationId xmlns:a16="http://schemas.microsoft.com/office/drawing/2014/main" id="{8FE3A0CA-DA70-1A78-FD90-FD5D97B7E145}"/>
              </a:ext>
            </a:extLst>
          </p:cNvPr>
          <p:cNvSpPr/>
          <p:nvPr/>
        </p:nvSpPr>
        <p:spPr>
          <a:xfrm>
            <a:off x="-1" y="300636"/>
            <a:ext cx="3024555" cy="543425"/>
          </a:xfrm>
          <a:prstGeom prst="rect">
            <a:avLst/>
          </a:prstGeom>
          <a:solidFill>
            <a:schemeClr val="accent1">
              <a:lumMod val="60000"/>
              <a:lumOff val="40000"/>
            </a:schemeClr>
          </a:solidFill>
          <a:ln w="12700" cap="flat" cmpd="sng" algn="ctr">
            <a:solidFill>
              <a:schemeClr val="accent1"/>
            </a:solid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QA"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Possib</a:t>
            </a:r>
            <a:r>
              <a:rPr lang="en-QA" sz="2800" b="1" kern="0" dirty="0">
                <a:solidFill>
                  <a:schemeClr val="bg1"/>
                </a:solidFill>
                <a:latin typeface="Calibri" panose="020F0502020204030204" pitchFamily="34" charset="0"/>
                <a:cs typeface="Calibri" panose="020F0502020204030204" pitchFamily="34" charset="0"/>
              </a:rPr>
              <a:t>le Concerns</a:t>
            </a:r>
            <a:endParaRPr kumimoji="0" lang="en-US"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B9DF95C9-92D2-46E6-E50D-AF1A80C1669A}"/>
              </a:ext>
            </a:extLst>
          </p:cNvPr>
          <p:cNvSpPr txBox="1"/>
          <p:nvPr/>
        </p:nvSpPr>
        <p:spPr>
          <a:xfrm>
            <a:off x="3171426" y="360428"/>
            <a:ext cx="8537562" cy="415498"/>
          </a:xfrm>
          <a:custGeom>
            <a:avLst/>
            <a:gdLst>
              <a:gd name="csX0" fmla="*/ 0 w 8537562"/>
              <a:gd name="csY0" fmla="*/ 0 h 415498"/>
              <a:gd name="csX1" fmla="*/ 8537562 w 8537562"/>
              <a:gd name="csY1" fmla="*/ 0 h 415498"/>
              <a:gd name="csX2" fmla="*/ 8537562 w 8537562"/>
              <a:gd name="csY2" fmla="*/ 415498 h 415498"/>
              <a:gd name="csX3" fmla="*/ 0 w 8537562"/>
              <a:gd name="csY3" fmla="*/ 415498 h 415498"/>
              <a:gd name="csX4" fmla="*/ 0 w 8537562"/>
              <a:gd name="csY4" fmla="*/ 0 h 415498"/>
            </a:gdLst>
            <a:ahLst/>
            <a:cxnLst>
              <a:cxn ang="0">
                <a:pos x="csX0" y="csY0"/>
              </a:cxn>
              <a:cxn ang="0">
                <a:pos x="csX1" y="csY1"/>
              </a:cxn>
              <a:cxn ang="0">
                <a:pos x="csX2" y="csY2"/>
              </a:cxn>
              <a:cxn ang="0">
                <a:pos x="csX3" y="csY3"/>
              </a:cxn>
              <a:cxn ang="0">
                <a:pos x="csX4" y="csY4"/>
              </a:cxn>
            </a:cxnLst>
            <a:rect l="l" t="t" r="r" b="b"/>
            <a:pathLst>
              <a:path w="8537562" h="415498" fill="none" extrusionOk="0">
                <a:moveTo>
                  <a:pt x="0" y="0"/>
                </a:moveTo>
                <a:cubicBezTo>
                  <a:pt x="1010728" y="-49533"/>
                  <a:pt x="5948869" y="-14809"/>
                  <a:pt x="8537562" y="0"/>
                </a:cubicBezTo>
                <a:cubicBezTo>
                  <a:pt x="8537656" y="146531"/>
                  <a:pt x="8569110" y="235745"/>
                  <a:pt x="8537562" y="415498"/>
                </a:cubicBezTo>
                <a:cubicBezTo>
                  <a:pt x="4364625" y="367267"/>
                  <a:pt x="3684923" y="499953"/>
                  <a:pt x="0" y="415498"/>
                </a:cubicBezTo>
                <a:cubicBezTo>
                  <a:pt x="27127" y="245326"/>
                  <a:pt x="27132" y="170865"/>
                  <a:pt x="0" y="0"/>
                </a:cubicBezTo>
                <a:close/>
              </a:path>
              <a:path w="8537562" h="415498" stroke="0" extrusionOk="0">
                <a:moveTo>
                  <a:pt x="0" y="0"/>
                </a:moveTo>
                <a:cubicBezTo>
                  <a:pt x="3595132" y="118645"/>
                  <a:pt x="4431797" y="116012"/>
                  <a:pt x="8537562" y="0"/>
                </a:cubicBezTo>
                <a:cubicBezTo>
                  <a:pt x="8573975" y="66648"/>
                  <a:pt x="8536160" y="221640"/>
                  <a:pt x="8537562" y="415498"/>
                </a:cubicBezTo>
                <a:cubicBezTo>
                  <a:pt x="4952027" y="550098"/>
                  <a:pt x="3844005" y="258302"/>
                  <a:pt x="0" y="415498"/>
                </a:cubicBezTo>
                <a:cubicBezTo>
                  <a:pt x="32289" y="328275"/>
                  <a:pt x="12801" y="186451"/>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Curved/>
                  </ask:type>
                </ask:lineSketchStyleProps>
              </a:ext>
            </a:extLst>
          </a:ln>
        </p:spPr>
        <p:txBody>
          <a:bodyPr wrap="square" rtlCol="0">
            <a:spAutoFit/>
          </a:bodyPr>
          <a:lstStyle/>
          <a:p>
            <a:pPr marL="457200" indent="-457200">
              <a:buFont typeface="Arial" panose="020B0604020202020204" pitchFamily="34" charset="0"/>
              <a:buChar char="•"/>
            </a:pPr>
            <a:r>
              <a:rPr lang="en-GB" sz="2100" b="1" dirty="0">
                <a:latin typeface="Calibri" panose="020F0502020204030204" pitchFamily="34" charset="0"/>
                <a:cs typeface="Calibri" panose="020F0502020204030204" pitchFamily="34" charset="0"/>
              </a:rPr>
              <a:t>My child won’t learn as much as they would in a traditional classroom</a:t>
            </a:r>
          </a:p>
        </p:txBody>
      </p:sp>
      <p:sp>
        <p:nvSpPr>
          <p:cNvPr id="18" name="TextBox 17">
            <a:extLst>
              <a:ext uri="{FF2B5EF4-FFF2-40B4-BE49-F238E27FC236}">
                <a16:creationId xmlns:a16="http://schemas.microsoft.com/office/drawing/2014/main" id="{BB29F4BB-7B66-62DE-41ED-26FD0238BF02}"/>
              </a:ext>
            </a:extLst>
          </p:cNvPr>
          <p:cNvSpPr txBox="1"/>
          <p:nvPr/>
        </p:nvSpPr>
        <p:spPr>
          <a:xfrm>
            <a:off x="872000" y="5579216"/>
            <a:ext cx="10557999" cy="1077218"/>
          </a:xfrm>
          <a:prstGeom prst="rect">
            <a:avLst/>
          </a:prstGeom>
          <a:noFill/>
        </p:spPr>
        <p:txBody>
          <a:bodyPr wrap="square">
            <a:spAutoFit/>
          </a:bodyPr>
          <a:lstStyle/>
          <a:p>
            <a:pPr marL="0" algn="ctr"/>
            <a:r>
              <a:rPr lang="en-US" sz="1600" dirty="0"/>
              <a:t>“Tremendous building of awareness, consciousness and sense of responsibility through real life projects. Things that would be taught or learned academically in older grades are being done sooner. There is a lot of sustained learning and students’ enquiry beyond the tasks allocated. Students really enjoyed tasks involving drawing and activities that were new to them.” </a:t>
            </a:r>
          </a:p>
          <a:p>
            <a:pPr marL="0"/>
            <a:r>
              <a:rPr lang="en-US" sz="1600" b="1" dirty="0"/>
              <a:t>- Teacher</a:t>
            </a:r>
          </a:p>
        </p:txBody>
      </p:sp>
      <p:grpSp>
        <p:nvGrpSpPr>
          <p:cNvPr id="53" name="Group 2">
            <a:extLst>
              <a:ext uri="{FF2B5EF4-FFF2-40B4-BE49-F238E27FC236}">
                <a16:creationId xmlns:a16="http://schemas.microsoft.com/office/drawing/2014/main" id="{EC833065-3AA9-71CA-F8BE-70965BE684B1}"/>
              </a:ext>
            </a:extLst>
          </p:cNvPr>
          <p:cNvGrpSpPr>
            <a:grpSpLocks noChangeAspect="1"/>
          </p:cNvGrpSpPr>
          <p:nvPr/>
        </p:nvGrpSpPr>
        <p:grpSpPr>
          <a:xfrm>
            <a:off x="4269180" y="1551397"/>
            <a:ext cx="3653640" cy="3653640"/>
            <a:chOff x="0" y="0"/>
            <a:chExt cx="6355080" cy="6355080"/>
          </a:xfrm>
        </p:grpSpPr>
        <p:sp>
          <p:nvSpPr>
            <p:cNvPr id="54" name="Freeform 3">
              <a:extLst>
                <a:ext uri="{FF2B5EF4-FFF2-40B4-BE49-F238E27FC236}">
                  <a16:creationId xmlns:a16="http://schemas.microsoft.com/office/drawing/2014/main" id="{B4429611-8C23-5584-EAA0-C8B807FE53EC}"/>
                </a:ext>
              </a:extLst>
            </p:cNvPr>
            <p:cNvSpPr/>
            <p:nvPr/>
          </p:nvSpPr>
          <p:spPr>
            <a:xfrm>
              <a:off x="0" y="0"/>
              <a:ext cx="6355080" cy="6355080"/>
            </a:xfrm>
            <a:custGeom>
              <a:avLst/>
              <a:gdLst/>
              <a:ahLst/>
              <a:cxnLst/>
              <a:rect l="l" t="t" r="r" b="b"/>
              <a:pathLst>
                <a:path w="6355080" h="6355080">
                  <a:moveTo>
                    <a:pt x="3177540" y="6355080"/>
                  </a:moveTo>
                  <a:cubicBezTo>
                    <a:pt x="2329180" y="6355080"/>
                    <a:pt x="1530350" y="6024880"/>
                    <a:pt x="930910" y="5424170"/>
                  </a:cubicBezTo>
                  <a:cubicBezTo>
                    <a:pt x="330200" y="4824730"/>
                    <a:pt x="0" y="4025900"/>
                    <a:pt x="0" y="3177540"/>
                  </a:cubicBezTo>
                  <a:cubicBezTo>
                    <a:pt x="0" y="2329180"/>
                    <a:pt x="330200" y="1530350"/>
                    <a:pt x="930910" y="930910"/>
                  </a:cubicBezTo>
                  <a:cubicBezTo>
                    <a:pt x="1530350" y="330200"/>
                    <a:pt x="2329180" y="0"/>
                    <a:pt x="3177540" y="0"/>
                  </a:cubicBezTo>
                  <a:cubicBezTo>
                    <a:pt x="4025900" y="0"/>
                    <a:pt x="4824730" y="330200"/>
                    <a:pt x="5424170" y="930910"/>
                  </a:cubicBezTo>
                  <a:cubicBezTo>
                    <a:pt x="6024880" y="1531620"/>
                    <a:pt x="6355080" y="2329180"/>
                    <a:pt x="6355080" y="3177540"/>
                  </a:cubicBezTo>
                  <a:cubicBezTo>
                    <a:pt x="6355080" y="4025900"/>
                    <a:pt x="6024880" y="4824730"/>
                    <a:pt x="5424170" y="5424170"/>
                  </a:cubicBezTo>
                  <a:cubicBezTo>
                    <a:pt x="4824730" y="6024880"/>
                    <a:pt x="4025900" y="6355080"/>
                    <a:pt x="3177540" y="6355080"/>
                  </a:cubicBezTo>
                  <a:close/>
                  <a:moveTo>
                    <a:pt x="3177540" y="190500"/>
                  </a:moveTo>
                  <a:cubicBezTo>
                    <a:pt x="2379980" y="190500"/>
                    <a:pt x="1629410" y="501650"/>
                    <a:pt x="1065530" y="1065530"/>
                  </a:cubicBezTo>
                  <a:cubicBezTo>
                    <a:pt x="501650" y="1629410"/>
                    <a:pt x="190500" y="2379980"/>
                    <a:pt x="190500" y="3177540"/>
                  </a:cubicBezTo>
                  <a:cubicBezTo>
                    <a:pt x="190500" y="3975100"/>
                    <a:pt x="501650" y="4725670"/>
                    <a:pt x="1065530" y="5289550"/>
                  </a:cubicBezTo>
                  <a:cubicBezTo>
                    <a:pt x="1629410" y="5853430"/>
                    <a:pt x="2379980" y="6164580"/>
                    <a:pt x="3177540" y="6164580"/>
                  </a:cubicBezTo>
                  <a:cubicBezTo>
                    <a:pt x="3975100" y="6164580"/>
                    <a:pt x="4725670" y="5853430"/>
                    <a:pt x="5289550" y="5289550"/>
                  </a:cubicBezTo>
                  <a:cubicBezTo>
                    <a:pt x="5853430" y="4725670"/>
                    <a:pt x="6164580" y="3975100"/>
                    <a:pt x="6164580" y="3177540"/>
                  </a:cubicBezTo>
                  <a:cubicBezTo>
                    <a:pt x="6164580" y="2379980"/>
                    <a:pt x="5853430" y="1629410"/>
                    <a:pt x="5289550" y="1065530"/>
                  </a:cubicBezTo>
                  <a:cubicBezTo>
                    <a:pt x="4725670" y="501650"/>
                    <a:pt x="3975100" y="190500"/>
                    <a:pt x="3177540" y="190500"/>
                  </a:cubicBezTo>
                  <a:close/>
                </a:path>
              </a:pathLst>
            </a:custGeom>
            <a:solidFill>
              <a:srgbClr val="F1DFC8"/>
            </a:solidFill>
          </p:spPr>
        </p:sp>
      </p:grpSp>
      <p:grpSp>
        <p:nvGrpSpPr>
          <p:cNvPr id="55" name="Group 4">
            <a:extLst>
              <a:ext uri="{FF2B5EF4-FFF2-40B4-BE49-F238E27FC236}">
                <a16:creationId xmlns:a16="http://schemas.microsoft.com/office/drawing/2014/main" id="{40E27A3C-ED54-BE0C-2D7F-A3FFAFE3B5DB}"/>
              </a:ext>
            </a:extLst>
          </p:cNvPr>
          <p:cNvGrpSpPr/>
          <p:nvPr/>
        </p:nvGrpSpPr>
        <p:grpSpPr>
          <a:xfrm>
            <a:off x="5386630" y="827499"/>
            <a:ext cx="1418402" cy="1314742"/>
            <a:chOff x="0" y="0"/>
            <a:chExt cx="6350000" cy="6350000"/>
          </a:xfrm>
        </p:grpSpPr>
        <p:sp>
          <p:nvSpPr>
            <p:cNvPr id="56" name="Freeform 5">
              <a:extLst>
                <a:ext uri="{FF2B5EF4-FFF2-40B4-BE49-F238E27FC236}">
                  <a16:creationId xmlns:a16="http://schemas.microsoft.com/office/drawing/2014/main" id="{40AF4AE9-7B27-DC34-0199-6FD3411026DC}"/>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D3A29D"/>
            </a:solidFill>
          </p:spPr>
        </p:sp>
      </p:grpSp>
      <p:grpSp>
        <p:nvGrpSpPr>
          <p:cNvPr id="57" name="Group 6">
            <a:extLst>
              <a:ext uri="{FF2B5EF4-FFF2-40B4-BE49-F238E27FC236}">
                <a16:creationId xmlns:a16="http://schemas.microsoft.com/office/drawing/2014/main" id="{F564EB6A-07C6-51F8-D5F9-4B4380BAC328}"/>
              </a:ext>
            </a:extLst>
          </p:cNvPr>
          <p:cNvGrpSpPr/>
          <p:nvPr/>
        </p:nvGrpSpPr>
        <p:grpSpPr>
          <a:xfrm>
            <a:off x="7367036" y="2100985"/>
            <a:ext cx="1380658" cy="1314742"/>
            <a:chOff x="0" y="0"/>
            <a:chExt cx="6350000" cy="6350000"/>
          </a:xfrm>
        </p:grpSpPr>
        <p:sp>
          <p:nvSpPr>
            <p:cNvPr id="58" name="Freeform 7">
              <a:extLst>
                <a:ext uri="{FF2B5EF4-FFF2-40B4-BE49-F238E27FC236}">
                  <a16:creationId xmlns:a16="http://schemas.microsoft.com/office/drawing/2014/main" id="{1E13F2D0-148F-E5AF-046C-5361994D35D9}"/>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E8B298"/>
            </a:solidFill>
          </p:spPr>
        </p:sp>
      </p:grpSp>
      <p:grpSp>
        <p:nvGrpSpPr>
          <p:cNvPr id="59" name="Group 8">
            <a:extLst>
              <a:ext uri="{FF2B5EF4-FFF2-40B4-BE49-F238E27FC236}">
                <a16:creationId xmlns:a16="http://schemas.microsoft.com/office/drawing/2014/main" id="{936F495B-6393-5687-3714-7357949E288B}"/>
              </a:ext>
            </a:extLst>
          </p:cNvPr>
          <p:cNvGrpSpPr/>
          <p:nvPr/>
        </p:nvGrpSpPr>
        <p:grpSpPr>
          <a:xfrm>
            <a:off x="6801924" y="3998264"/>
            <a:ext cx="1428272" cy="1353839"/>
            <a:chOff x="0" y="0"/>
            <a:chExt cx="6350000" cy="6350000"/>
          </a:xfrm>
        </p:grpSpPr>
        <p:sp>
          <p:nvSpPr>
            <p:cNvPr id="60" name="Freeform 9">
              <a:extLst>
                <a:ext uri="{FF2B5EF4-FFF2-40B4-BE49-F238E27FC236}">
                  <a16:creationId xmlns:a16="http://schemas.microsoft.com/office/drawing/2014/main" id="{E9C3779F-4E09-7A8B-F5AF-CBCB058DE05A}"/>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EECC8C"/>
            </a:solidFill>
          </p:spPr>
        </p:sp>
      </p:grpSp>
      <p:grpSp>
        <p:nvGrpSpPr>
          <p:cNvPr id="61" name="Group 10">
            <a:extLst>
              <a:ext uri="{FF2B5EF4-FFF2-40B4-BE49-F238E27FC236}">
                <a16:creationId xmlns:a16="http://schemas.microsoft.com/office/drawing/2014/main" id="{189D72B4-C9EE-7FCF-C6D0-F73FAAF89573}"/>
              </a:ext>
            </a:extLst>
          </p:cNvPr>
          <p:cNvGrpSpPr/>
          <p:nvPr/>
        </p:nvGrpSpPr>
        <p:grpSpPr>
          <a:xfrm>
            <a:off x="3490099" y="2163089"/>
            <a:ext cx="1386846" cy="1252638"/>
            <a:chOff x="0" y="0"/>
            <a:chExt cx="6350000" cy="6350000"/>
          </a:xfrm>
        </p:grpSpPr>
        <p:sp>
          <p:nvSpPr>
            <p:cNvPr id="62" name="Freeform 11">
              <a:extLst>
                <a:ext uri="{FF2B5EF4-FFF2-40B4-BE49-F238E27FC236}">
                  <a16:creationId xmlns:a16="http://schemas.microsoft.com/office/drawing/2014/main" id="{F40056F5-3F10-CE96-412E-AC4151269BB5}"/>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9EABA2"/>
            </a:solidFill>
          </p:spPr>
        </p:sp>
      </p:grpSp>
      <p:grpSp>
        <p:nvGrpSpPr>
          <p:cNvPr id="63" name="Group 12">
            <a:extLst>
              <a:ext uri="{FF2B5EF4-FFF2-40B4-BE49-F238E27FC236}">
                <a16:creationId xmlns:a16="http://schemas.microsoft.com/office/drawing/2014/main" id="{130E83AC-8B90-1B83-1399-B7B8AB3E954B}"/>
              </a:ext>
            </a:extLst>
          </p:cNvPr>
          <p:cNvGrpSpPr/>
          <p:nvPr/>
        </p:nvGrpSpPr>
        <p:grpSpPr>
          <a:xfrm>
            <a:off x="3958696" y="4027419"/>
            <a:ext cx="1431098" cy="1355225"/>
            <a:chOff x="0" y="0"/>
            <a:chExt cx="6350000" cy="6350000"/>
          </a:xfrm>
        </p:grpSpPr>
        <p:sp>
          <p:nvSpPr>
            <p:cNvPr id="64" name="Freeform 13">
              <a:extLst>
                <a:ext uri="{FF2B5EF4-FFF2-40B4-BE49-F238E27FC236}">
                  <a16:creationId xmlns:a16="http://schemas.microsoft.com/office/drawing/2014/main" id="{B337AE39-61B6-0A1B-44EF-C41EA8646C44}"/>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BDD1C5"/>
            </a:solidFill>
          </p:spPr>
        </p:sp>
      </p:grpSp>
      <p:sp>
        <p:nvSpPr>
          <p:cNvPr id="65" name="TextBox 29">
            <a:extLst>
              <a:ext uri="{FF2B5EF4-FFF2-40B4-BE49-F238E27FC236}">
                <a16:creationId xmlns:a16="http://schemas.microsoft.com/office/drawing/2014/main" id="{4E11CC39-584D-E892-2587-CD2F69657AA7}"/>
              </a:ext>
            </a:extLst>
          </p:cNvPr>
          <p:cNvSpPr txBox="1"/>
          <p:nvPr/>
        </p:nvSpPr>
        <p:spPr>
          <a:xfrm>
            <a:off x="4813510" y="2469012"/>
            <a:ext cx="2564979" cy="1846659"/>
          </a:xfrm>
          <a:prstGeom prst="rect">
            <a:avLst/>
          </a:prstGeom>
        </p:spPr>
        <p:txBody>
          <a:bodyPr wrap="square" lIns="0" tIns="0" rIns="0" bIns="0" rtlCol="0" anchor="t">
            <a:spAutoFit/>
          </a:bodyPr>
          <a:lstStyle/>
          <a:p>
            <a:pPr algn="ctr">
              <a:lnSpc>
                <a:spcPts val="3600"/>
              </a:lnSpc>
            </a:pPr>
            <a:r>
              <a:rPr lang="en-US" sz="3000" dirty="0">
                <a:solidFill>
                  <a:srgbClr val="6D4C44"/>
                </a:solidFill>
                <a:latin typeface="Gordita Bold"/>
              </a:rPr>
              <a:t>PBL is more effective than traditional learning</a:t>
            </a:r>
          </a:p>
        </p:txBody>
      </p:sp>
      <p:sp>
        <p:nvSpPr>
          <p:cNvPr id="71" name="TextBox 29">
            <a:extLst>
              <a:ext uri="{FF2B5EF4-FFF2-40B4-BE49-F238E27FC236}">
                <a16:creationId xmlns:a16="http://schemas.microsoft.com/office/drawing/2014/main" id="{F56B6CAC-F4B3-6ABC-E2B4-7D471FA285F3}"/>
              </a:ext>
            </a:extLst>
          </p:cNvPr>
          <p:cNvSpPr txBox="1"/>
          <p:nvPr/>
        </p:nvSpPr>
        <p:spPr>
          <a:xfrm>
            <a:off x="6653486" y="1184048"/>
            <a:ext cx="1386847" cy="492443"/>
          </a:xfrm>
          <a:prstGeom prst="rect">
            <a:avLst/>
          </a:prstGeom>
        </p:spPr>
        <p:txBody>
          <a:bodyPr wrap="square" lIns="0" tIns="0" rIns="0" bIns="0" rtlCol="0" anchor="t">
            <a:spAutoFit/>
          </a:bodyPr>
          <a:lstStyle/>
          <a:p>
            <a:pPr algn="ctr"/>
            <a:r>
              <a:rPr lang="en-US" sz="1600" dirty="0">
                <a:solidFill>
                  <a:srgbClr val="6D4C44"/>
                </a:solidFill>
                <a:latin typeface="Gordita Bold"/>
              </a:rPr>
              <a:t>Authentic learning</a:t>
            </a:r>
          </a:p>
        </p:txBody>
      </p:sp>
      <p:sp>
        <p:nvSpPr>
          <p:cNvPr id="72" name="TextBox 29">
            <a:extLst>
              <a:ext uri="{FF2B5EF4-FFF2-40B4-BE49-F238E27FC236}">
                <a16:creationId xmlns:a16="http://schemas.microsoft.com/office/drawing/2014/main" id="{745A9FE9-A43B-389A-EF26-333C3B738F1E}"/>
              </a:ext>
            </a:extLst>
          </p:cNvPr>
          <p:cNvSpPr txBox="1"/>
          <p:nvPr/>
        </p:nvSpPr>
        <p:spPr>
          <a:xfrm>
            <a:off x="2161651" y="2573046"/>
            <a:ext cx="1386847" cy="492443"/>
          </a:xfrm>
          <a:prstGeom prst="rect">
            <a:avLst/>
          </a:prstGeom>
        </p:spPr>
        <p:txBody>
          <a:bodyPr wrap="square" lIns="0" tIns="0" rIns="0" bIns="0" rtlCol="0" anchor="t">
            <a:spAutoFit/>
          </a:bodyPr>
          <a:lstStyle/>
          <a:p>
            <a:pPr algn="ctr"/>
            <a:r>
              <a:rPr lang="en-US" sz="1600" dirty="0">
                <a:solidFill>
                  <a:srgbClr val="6D4C44"/>
                </a:solidFill>
                <a:latin typeface="Gordita Bold"/>
              </a:rPr>
              <a:t>A sense of purpose</a:t>
            </a:r>
          </a:p>
        </p:txBody>
      </p:sp>
      <p:sp>
        <p:nvSpPr>
          <p:cNvPr id="73" name="TextBox 29">
            <a:extLst>
              <a:ext uri="{FF2B5EF4-FFF2-40B4-BE49-F238E27FC236}">
                <a16:creationId xmlns:a16="http://schemas.microsoft.com/office/drawing/2014/main" id="{1B87F4FE-4121-709C-DAC1-BDF023FA8440}"/>
              </a:ext>
            </a:extLst>
          </p:cNvPr>
          <p:cNvSpPr txBox="1"/>
          <p:nvPr/>
        </p:nvSpPr>
        <p:spPr>
          <a:xfrm>
            <a:off x="8619438" y="2463584"/>
            <a:ext cx="1386847" cy="492443"/>
          </a:xfrm>
          <a:prstGeom prst="rect">
            <a:avLst/>
          </a:prstGeom>
        </p:spPr>
        <p:txBody>
          <a:bodyPr wrap="square" lIns="0" tIns="0" rIns="0" bIns="0" rtlCol="0" anchor="t">
            <a:spAutoFit/>
          </a:bodyPr>
          <a:lstStyle/>
          <a:p>
            <a:pPr algn="ctr"/>
            <a:r>
              <a:rPr lang="en-US" sz="1600" dirty="0">
                <a:solidFill>
                  <a:srgbClr val="6D4C44"/>
                </a:solidFill>
                <a:latin typeface="Gordita Bold"/>
              </a:rPr>
              <a:t>Authentic audience</a:t>
            </a:r>
          </a:p>
        </p:txBody>
      </p:sp>
      <p:sp>
        <p:nvSpPr>
          <p:cNvPr id="74" name="TextBox 29">
            <a:extLst>
              <a:ext uri="{FF2B5EF4-FFF2-40B4-BE49-F238E27FC236}">
                <a16:creationId xmlns:a16="http://schemas.microsoft.com/office/drawing/2014/main" id="{333CC796-ADC4-9A18-7591-DA116B7C1687}"/>
              </a:ext>
            </a:extLst>
          </p:cNvPr>
          <p:cNvSpPr txBox="1"/>
          <p:nvPr/>
        </p:nvSpPr>
        <p:spPr>
          <a:xfrm>
            <a:off x="8227010" y="4452536"/>
            <a:ext cx="1684146" cy="492443"/>
          </a:xfrm>
          <a:prstGeom prst="rect">
            <a:avLst/>
          </a:prstGeom>
        </p:spPr>
        <p:txBody>
          <a:bodyPr wrap="square" lIns="0" tIns="0" rIns="0" bIns="0" rtlCol="0" anchor="t">
            <a:spAutoFit/>
          </a:bodyPr>
          <a:lstStyle/>
          <a:p>
            <a:pPr algn="ctr"/>
            <a:r>
              <a:rPr lang="en-US" sz="1600" dirty="0">
                <a:solidFill>
                  <a:srgbClr val="6D4C44"/>
                </a:solidFill>
                <a:latin typeface="Gordita Bold"/>
              </a:rPr>
              <a:t>Integrated social &amp; emotional skills</a:t>
            </a:r>
          </a:p>
        </p:txBody>
      </p:sp>
      <p:sp>
        <p:nvSpPr>
          <p:cNvPr id="75" name="TextBox 29">
            <a:extLst>
              <a:ext uri="{FF2B5EF4-FFF2-40B4-BE49-F238E27FC236}">
                <a16:creationId xmlns:a16="http://schemas.microsoft.com/office/drawing/2014/main" id="{51AE8900-8575-3D86-A393-B81A5A4A5B80}"/>
              </a:ext>
            </a:extLst>
          </p:cNvPr>
          <p:cNvSpPr txBox="1"/>
          <p:nvPr/>
        </p:nvSpPr>
        <p:spPr>
          <a:xfrm>
            <a:off x="2368820" y="4558935"/>
            <a:ext cx="1386847" cy="492443"/>
          </a:xfrm>
          <a:prstGeom prst="rect">
            <a:avLst/>
          </a:prstGeom>
        </p:spPr>
        <p:txBody>
          <a:bodyPr wrap="square" lIns="0" tIns="0" rIns="0" bIns="0" rtlCol="0" anchor="t">
            <a:spAutoFit/>
          </a:bodyPr>
          <a:lstStyle/>
          <a:p>
            <a:pPr algn="ctr"/>
            <a:r>
              <a:rPr lang="en-US" sz="1600" dirty="0">
                <a:solidFill>
                  <a:srgbClr val="6D4C44"/>
                </a:solidFill>
                <a:latin typeface="Gordita Bold"/>
              </a:rPr>
              <a:t>Students active in assessment </a:t>
            </a:r>
          </a:p>
        </p:txBody>
      </p:sp>
      <p:pic>
        <p:nvPicPr>
          <p:cNvPr id="76" name="Picture 2">
            <a:extLst>
              <a:ext uri="{FF2B5EF4-FFF2-40B4-BE49-F238E27FC236}">
                <a16:creationId xmlns:a16="http://schemas.microsoft.com/office/drawing/2014/main" id="{F4934D03-3BFB-1747-B3E0-E42C86726BF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3681664" y="2308603"/>
            <a:ext cx="980865" cy="977187"/>
          </a:xfrm>
          <a:prstGeom prst="rect">
            <a:avLst/>
          </a:prstGeom>
        </p:spPr>
      </p:pic>
      <p:pic>
        <p:nvPicPr>
          <p:cNvPr id="77" name="Picture 6">
            <a:extLst>
              <a:ext uri="{FF2B5EF4-FFF2-40B4-BE49-F238E27FC236}">
                <a16:creationId xmlns:a16="http://schemas.microsoft.com/office/drawing/2014/main" id="{5436E08E-658E-0186-BECB-CB02A4A0F9A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6859626" y="4050581"/>
            <a:ext cx="1161162" cy="1171411"/>
          </a:xfrm>
          <a:prstGeom prst="rect">
            <a:avLst/>
          </a:prstGeom>
        </p:spPr>
      </p:pic>
      <p:pic>
        <p:nvPicPr>
          <p:cNvPr id="78" name="Picture 8">
            <a:extLst>
              <a:ext uri="{FF2B5EF4-FFF2-40B4-BE49-F238E27FC236}">
                <a16:creationId xmlns:a16="http://schemas.microsoft.com/office/drawing/2014/main" id="{05297842-198F-3BEB-B25F-958498D2E55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5633191" y="984228"/>
            <a:ext cx="947504" cy="947504"/>
          </a:xfrm>
          <a:prstGeom prst="rect">
            <a:avLst/>
          </a:prstGeom>
        </p:spPr>
      </p:pic>
      <p:pic>
        <p:nvPicPr>
          <p:cNvPr id="79" name="Picture 4">
            <a:extLst>
              <a:ext uri="{FF2B5EF4-FFF2-40B4-BE49-F238E27FC236}">
                <a16:creationId xmlns:a16="http://schemas.microsoft.com/office/drawing/2014/main" id="{922E8044-A1C3-6C67-15D7-3DEFFDFBA0D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7529470" y="2342796"/>
            <a:ext cx="1067866" cy="800899"/>
          </a:xfrm>
          <a:prstGeom prst="rect">
            <a:avLst/>
          </a:prstGeom>
        </p:spPr>
      </p:pic>
      <p:pic>
        <p:nvPicPr>
          <p:cNvPr id="80" name="Picture 13">
            <a:extLst>
              <a:ext uri="{FF2B5EF4-FFF2-40B4-BE49-F238E27FC236}">
                <a16:creationId xmlns:a16="http://schemas.microsoft.com/office/drawing/2014/main" id="{AAC507B1-0BFE-A3D7-E77D-8F6155541FE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4318194" y="4203405"/>
            <a:ext cx="706016" cy="982283"/>
          </a:xfrm>
          <a:prstGeom prst="rect">
            <a:avLst/>
          </a:prstGeom>
        </p:spPr>
      </p:pic>
    </p:spTree>
    <p:extLst>
      <p:ext uri="{BB962C8B-B14F-4D97-AF65-F5344CB8AC3E}">
        <p14:creationId xmlns:p14="http://schemas.microsoft.com/office/powerpoint/2010/main" val="3202456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F3D410-CEF6-4064-BFE2-CACE69472036}"/>
              </a:ext>
            </a:extLst>
          </p:cNvPr>
          <p:cNvSpPr/>
          <p:nvPr/>
        </p:nvSpPr>
        <p:spPr>
          <a:xfrm>
            <a:off x="1082276" y="1741184"/>
            <a:ext cx="8634714" cy="972274"/>
          </a:xfrm>
          <a:custGeom>
            <a:avLst/>
            <a:gdLst>
              <a:gd name="csX0" fmla="*/ 0 w 8634714"/>
              <a:gd name="csY0" fmla="*/ 0 h 972274"/>
              <a:gd name="csX1" fmla="*/ 748342 w 8634714"/>
              <a:gd name="csY1" fmla="*/ 0 h 972274"/>
              <a:gd name="csX2" fmla="*/ 1151295 w 8634714"/>
              <a:gd name="csY2" fmla="*/ 0 h 972274"/>
              <a:gd name="csX3" fmla="*/ 1726943 w 8634714"/>
              <a:gd name="csY3" fmla="*/ 0 h 972274"/>
              <a:gd name="csX4" fmla="*/ 2388938 w 8634714"/>
              <a:gd name="csY4" fmla="*/ 0 h 972274"/>
              <a:gd name="csX5" fmla="*/ 2705544 w 8634714"/>
              <a:gd name="csY5" fmla="*/ 0 h 972274"/>
              <a:gd name="csX6" fmla="*/ 3022150 w 8634714"/>
              <a:gd name="csY6" fmla="*/ 0 h 972274"/>
              <a:gd name="csX7" fmla="*/ 3770492 w 8634714"/>
              <a:gd name="csY7" fmla="*/ 0 h 972274"/>
              <a:gd name="csX8" fmla="*/ 4346139 w 8634714"/>
              <a:gd name="csY8" fmla="*/ 0 h 972274"/>
              <a:gd name="csX9" fmla="*/ 4662746 w 8634714"/>
              <a:gd name="csY9" fmla="*/ 0 h 972274"/>
              <a:gd name="csX10" fmla="*/ 5238393 w 8634714"/>
              <a:gd name="csY10" fmla="*/ 0 h 972274"/>
              <a:gd name="csX11" fmla="*/ 5986735 w 8634714"/>
              <a:gd name="csY11" fmla="*/ 0 h 972274"/>
              <a:gd name="csX12" fmla="*/ 6476036 w 8634714"/>
              <a:gd name="csY12" fmla="*/ 0 h 972274"/>
              <a:gd name="csX13" fmla="*/ 6965336 w 8634714"/>
              <a:gd name="csY13" fmla="*/ 0 h 972274"/>
              <a:gd name="csX14" fmla="*/ 7540984 w 8634714"/>
              <a:gd name="csY14" fmla="*/ 0 h 972274"/>
              <a:gd name="csX15" fmla="*/ 8634714 w 8634714"/>
              <a:gd name="csY15" fmla="*/ 0 h 972274"/>
              <a:gd name="csX16" fmla="*/ 8634714 w 8634714"/>
              <a:gd name="csY16" fmla="*/ 495860 h 972274"/>
              <a:gd name="csX17" fmla="*/ 8634714 w 8634714"/>
              <a:gd name="csY17" fmla="*/ 972274 h 972274"/>
              <a:gd name="csX18" fmla="*/ 8145414 w 8634714"/>
              <a:gd name="csY18" fmla="*/ 972274 h 972274"/>
              <a:gd name="csX19" fmla="*/ 7742460 w 8634714"/>
              <a:gd name="csY19" fmla="*/ 972274 h 972274"/>
              <a:gd name="csX20" fmla="*/ 6994118 w 8634714"/>
              <a:gd name="csY20" fmla="*/ 972274 h 972274"/>
              <a:gd name="csX21" fmla="*/ 6418471 w 8634714"/>
              <a:gd name="csY21" fmla="*/ 972274 h 972274"/>
              <a:gd name="csX22" fmla="*/ 6101865 w 8634714"/>
              <a:gd name="csY22" fmla="*/ 972274 h 972274"/>
              <a:gd name="csX23" fmla="*/ 5526217 w 8634714"/>
              <a:gd name="csY23" fmla="*/ 972274 h 972274"/>
              <a:gd name="csX24" fmla="*/ 5036917 w 8634714"/>
              <a:gd name="csY24" fmla="*/ 972274 h 972274"/>
              <a:gd name="csX25" fmla="*/ 4547616 w 8634714"/>
              <a:gd name="csY25" fmla="*/ 972274 h 972274"/>
              <a:gd name="csX26" fmla="*/ 4058316 w 8634714"/>
              <a:gd name="csY26" fmla="*/ 972274 h 972274"/>
              <a:gd name="csX27" fmla="*/ 3569015 w 8634714"/>
              <a:gd name="csY27" fmla="*/ 972274 h 972274"/>
              <a:gd name="csX28" fmla="*/ 2907020 w 8634714"/>
              <a:gd name="csY28" fmla="*/ 972274 h 972274"/>
              <a:gd name="csX29" fmla="*/ 2331373 w 8634714"/>
              <a:gd name="csY29" fmla="*/ 972274 h 972274"/>
              <a:gd name="csX30" fmla="*/ 2014767 w 8634714"/>
              <a:gd name="csY30" fmla="*/ 972274 h 972274"/>
              <a:gd name="csX31" fmla="*/ 1525466 w 8634714"/>
              <a:gd name="csY31" fmla="*/ 972274 h 972274"/>
              <a:gd name="csX32" fmla="*/ 863471 w 8634714"/>
              <a:gd name="csY32" fmla="*/ 972274 h 972274"/>
              <a:gd name="csX33" fmla="*/ 0 w 8634714"/>
              <a:gd name="csY33" fmla="*/ 972274 h 972274"/>
              <a:gd name="csX34" fmla="*/ 0 w 8634714"/>
              <a:gd name="csY34" fmla="*/ 466692 h 972274"/>
              <a:gd name="csX35" fmla="*/ 0 w 8634714"/>
              <a:gd name="csY35" fmla="*/ 0 h 9722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8634714" h="972274" fill="none" extrusionOk="0">
                <a:moveTo>
                  <a:pt x="0" y="0"/>
                </a:moveTo>
                <a:cubicBezTo>
                  <a:pt x="235253" y="-79486"/>
                  <a:pt x="549675" y="35672"/>
                  <a:pt x="748342" y="0"/>
                </a:cubicBezTo>
                <a:cubicBezTo>
                  <a:pt x="947009" y="-35672"/>
                  <a:pt x="1007586" y="47615"/>
                  <a:pt x="1151295" y="0"/>
                </a:cubicBezTo>
                <a:cubicBezTo>
                  <a:pt x="1295004" y="-47615"/>
                  <a:pt x="1498186" y="32620"/>
                  <a:pt x="1726943" y="0"/>
                </a:cubicBezTo>
                <a:cubicBezTo>
                  <a:pt x="1955700" y="-32620"/>
                  <a:pt x="2151901" y="37780"/>
                  <a:pt x="2388938" y="0"/>
                </a:cubicBezTo>
                <a:cubicBezTo>
                  <a:pt x="2625975" y="-37780"/>
                  <a:pt x="2552351" y="32741"/>
                  <a:pt x="2705544" y="0"/>
                </a:cubicBezTo>
                <a:cubicBezTo>
                  <a:pt x="2858737" y="-32741"/>
                  <a:pt x="2911982" y="8423"/>
                  <a:pt x="3022150" y="0"/>
                </a:cubicBezTo>
                <a:cubicBezTo>
                  <a:pt x="3132318" y="-8423"/>
                  <a:pt x="3465970" y="12519"/>
                  <a:pt x="3770492" y="0"/>
                </a:cubicBezTo>
                <a:cubicBezTo>
                  <a:pt x="4075014" y="-12519"/>
                  <a:pt x="4153063" y="37696"/>
                  <a:pt x="4346139" y="0"/>
                </a:cubicBezTo>
                <a:cubicBezTo>
                  <a:pt x="4539215" y="-37696"/>
                  <a:pt x="4515643" y="19582"/>
                  <a:pt x="4662746" y="0"/>
                </a:cubicBezTo>
                <a:cubicBezTo>
                  <a:pt x="4809849" y="-19582"/>
                  <a:pt x="5018265" y="56918"/>
                  <a:pt x="5238393" y="0"/>
                </a:cubicBezTo>
                <a:cubicBezTo>
                  <a:pt x="5458521" y="-56918"/>
                  <a:pt x="5717694" y="69295"/>
                  <a:pt x="5986735" y="0"/>
                </a:cubicBezTo>
                <a:cubicBezTo>
                  <a:pt x="6255776" y="-69295"/>
                  <a:pt x="6353524" y="50698"/>
                  <a:pt x="6476036" y="0"/>
                </a:cubicBezTo>
                <a:cubicBezTo>
                  <a:pt x="6598548" y="-50698"/>
                  <a:pt x="6858860" y="6759"/>
                  <a:pt x="6965336" y="0"/>
                </a:cubicBezTo>
                <a:cubicBezTo>
                  <a:pt x="7071812" y="-6759"/>
                  <a:pt x="7318558" y="60951"/>
                  <a:pt x="7540984" y="0"/>
                </a:cubicBezTo>
                <a:cubicBezTo>
                  <a:pt x="7763410" y="-60951"/>
                  <a:pt x="8345230" y="62956"/>
                  <a:pt x="8634714" y="0"/>
                </a:cubicBezTo>
                <a:cubicBezTo>
                  <a:pt x="8640196" y="191875"/>
                  <a:pt x="8596537" y="279265"/>
                  <a:pt x="8634714" y="495860"/>
                </a:cubicBezTo>
                <a:cubicBezTo>
                  <a:pt x="8672891" y="712455"/>
                  <a:pt x="8614435" y="837431"/>
                  <a:pt x="8634714" y="972274"/>
                </a:cubicBezTo>
                <a:cubicBezTo>
                  <a:pt x="8487740" y="1002450"/>
                  <a:pt x="8262238" y="915006"/>
                  <a:pt x="8145414" y="972274"/>
                </a:cubicBezTo>
                <a:cubicBezTo>
                  <a:pt x="8028590" y="1029542"/>
                  <a:pt x="7941370" y="941069"/>
                  <a:pt x="7742460" y="972274"/>
                </a:cubicBezTo>
                <a:cubicBezTo>
                  <a:pt x="7543550" y="1003479"/>
                  <a:pt x="7364883" y="933649"/>
                  <a:pt x="6994118" y="972274"/>
                </a:cubicBezTo>
                <a:cubicBezTo>
                  <a:pt x="6623353" y="1010899"/>
                  <a:pt x="6669107" y="919769"/>
                  <a:pt x="6418471" y="972274"/>
                </a:cubicBezTo>
                <a:cubicBezTo>
                  <a:pt x="6167835" y="1024779"/>
                  <a:pt x="6219663" y="962907"/>
                  <a:pt x="6101865" y="972274"/>
                </a:cubicBezTo>
                <a:cubicBezTo>
                  <a:pt x="5984067" y="981641"/>
                  <a:pt x="5709367" y="961933"/>
                  <a:pt x="5526217" y="972274"/>
                </a:cubicBezTo>
                <a:cubicBezTo>
                  <a:pt x="5343067" y="982615"/>
                  <a:pt x="5271626" y="961828"/>
                  <a:pt x="5036917" y="972274"/>
                </a:cubicBezTo>
                <a:cubicBezTo>
                  <a:pt x="4802208" y="982720"/>
                  <a:pt x="4688154" y="940501"/>
                  <a:pt x="4547616" y="972274"/>
                </a:cubicBezTo>
                <a:cubicBezTo>
                  <a:pt x="4407078" y="1004047"/>
                  <a:pt x="4168835" y="942245"/>
                  <a:pt x="4058316" y="972274"/>
                </a:cubicBezTo>
                <a:cubicBezTo>
                  <a:pt x="3947797" y="1002303"/>
                  <a:pt x="3700849" y="948568"/>
                  <a:pt x="3569015" y="972274"/>
                </a:cubicBezTo>
                <a:cubicBezTo>
                  <a:pt x="3437181" y="995980"/>
                  <a:pt x="3088572" y="970003"/>
                  <a:pt x="2907020" y="972274"/>
                </a:cubicBezTo>
                <a:cubicBezTo>
                  <a:pt x="2725468" y="974545"/>
                  <a:pt x="2488743" y="924948"/>
                  <a:pt x="2331373" y="972274"/>
                </a:cubicBezTo>
                <a:cubicBezTo>
                  <a:pt x="2174003" y="1019600"/>
                  <a:pt x="2092135" y="948902"/>
                  <a:pt x="2014767" y="972274"/>
                </a:cubicBezTo>
                <a:cubicBezTo>
                  <a:pt x="1937399" y="995646"/>
                  <a:pt x="1634068" y="970677"/>
                  <a:pt x="1525466" y="972274"/>
                </a:cubicBezTo>
                <a:cubicBezTo>
                  <a:pt x="1416864" y="973871"/>
                  <a:pt x="1044016" y="900693"/>
                  <a:pt x="863471" y="972274"/>
                </a:cubicBezTo>
                <a:cubicBezTo>
                  <a:pt x="682927" y="1043855"/>
                  <a:pt x="327113" y="963680"/>
                  <a:pt x="0" y="972274"/>
                </a:cubicBezTo>
                <a:cubicBezTo>
                  <a:pt x="-45974" y="750760"/>
                  <a:pt x="27015" y="689190"/>
                  <a:pt x="0" y="466692"/>
                </a:cubicBezTo>
                <a:cubicBezTo>
                  <a:pt x="-27015" y="244194"/>
                  <a:pt x="20249" y="223288"/>
                  <a:pt x="0" y="0"/>
                </a:cubicBezTo>
                <a:close/>
              </a:path>
              <a:path w="8634714" h="972274" stroke="0" extrusionOk="0">
                <a:moveTo>
                  <a:pt x="0" y="0"/>
                </a:moveTo>
                <a:cubicBezTo>
                  <a:pt x="123005" y="-10705"/>
                  <a:pt x="366678" y="51503"/>
                  <a:pt x="489300" y="0"/>
                </a:cubicBezTo>
                <a:cubicBezTo>
                  <a:pt x="611922" y="-51503"/>
                  <a:pt x="675660" y="30710"/>
                  <a:pt x="805907" y="0"/>
                </a:cubicBezTo>
                <a:cubicBezTo>
                  <a:pt x="936154" y="-30710"/>
                  <a:pt x="1229933" y="32104"/>
                  <a:pt x="1554249" y="0"/>
                </a:cubicBezTo>
                <a:cubicBezTo>
                  <a:pt x="1878565" y="-32104"/>
                  <a:pt x="1865920" y="3501"/>
                  <a:pt x="2043549" y="0"/>
                </a:cubicBezTo>
                <a:cubicBezTo>
                  <a:pt x="2221178" y="-3501"/>
                  <a:pt x="2293941" y="11617"/>
                  <a:pt x="2532849" y="0"/>
                </a:cubicBezTo>
                <a:cubicBezTo>
                  <a:pt x="2771757" y="-11617"/>
                  <a:pt x="2992519" y="41287"/>
                  <a:pt x="3281191" y="0"/>
                </a:cubicBezTo>
                <a:cubicBezTo>
                  <a:pt x="3569863" y="-41287"/>
                  <a:pt x="3541898" y="2619"/>
                  <a:pt x="3684145" y="0"/>
                </a:cubicBezTo>
                <a:cubicBezTo>
                  <a:pt x="3826392" y="-2619"/>
                  <a:pt x="4075935" y="10799"/>
                  <a:pt x="4432487" y="0"/>
                </a:cubicBezTo>
                <a:cubicBezTo>
                  <a:pt x="4789039" y="-10799"/>
                  <a:pt x="4987368" y="23378"/>
                  <a:pt x="5180828" y="0"/>
                </a:cubicBezTo>
                <a:cubicBezTo>
                  <a:pt x="5374288" y="-23378"/>
                  <a:pt x="5635916" y="19737"/>
                  <a:pt x="5756476" y="0"/>
                </a:cubicBezTo>
                <a:cubicBezTo>
                  <a:pt x="5877036" y="-19737"/>
                  <a:pt x="6177266" y="32993"/>
                  <a:pt x="6504818" y="0"/>
                </a:cubicBezTo>
                <a:cubicBezTo>
                  <a:pt x="6832370" y="-32993"/>
                  <a:pt x="6883993" y="7354"/>
                  <a:pt x="6994118" y="0"/>
                </a:cubicBezTo>
                <a:cubicBezTo>
                  <a:pt x="7104243" y="-7354"/>
                  <a:pt x="7376455" y="46356"/>
                  <a:pt x="7483419" y="0"/>
                </a:cubicBezTo>
                <a:cubicBezTo>
                  <a:pt x="7590383" y="-46356"/>
                  <a:pt x="7818137" y="9019"/>
                  <a:pt x="8145414" y="0"/>
                </a:cubicBezTo>
                <a:cubicBezTo>
                  <a:pt x="8472691" y="-9019"/>
                  <a:pt x="8521111" y="31035"/>
                  <a:pt x="8634714" y="0"/>
                </a:cubicBezTo>
                <a:cubicBezTo>
                  <a:pt x="8669543" y="129295"/>
                  <a:pt x="8624916" y="259480"/>
                  <a:pt x="8634714" y="505582"/>
                </a:cubicBezTo>
                <a:cubicBezTo>
                  <a:pt x="8644512" y="751684"/>
                  <a:pt x="8603062" y="754479"/>
                  <a:pt x="8634714" y="972274"/>
                </a:cubicBezTo>
                <a:cubicBezTo>
                  <a:pt x="8397162" y="1020742"/>
                  <a:pt x="8161857" y="912939"/>
                  <a:pt x="7972719" y="972274"/>
                </a:cubicBezTo>
                <a:cubicBezTo>
                  <a:pt x="7783581" y="1031609"/>
                  <a:pt x="7767792" y="958611"/>
                  <a:pt x="7656113" y="972274"/>
                </a:cubicBezTo>
                <a:cubicBezTo>
                  <a:pt x="7544434" y="985937"/>
                  <a:pt x="7336140" y="949643"/>
                  <a:pt x="7253160" y="972274"/>
                </a:cubicBezTo>
                <a:cubicBezTo>
                  <a:pt x="7170180" y="994905"/>
                  <a:pt x="6762315" y="932029"/>
                  <a:pt x="6504818" y="972274"/>
                </a:cubicBezTo>
                <a:cubicBezTo>
                  <a:pt x="6247321" y="1012519"/>
                  <a:pt x="6194648" y="929645"/>
                  <a:pt x="5929170" y="972274"/>
                </a:cubicBezTo>
                <a:cubicBezTo>
                  <a:pt x="5663692" y="1014903"/>
                  <a:pt x="5707446" y="930775"/>
                  <a:pt x="5526217" y="972274"/>
                </a:cubicBezTo>
                <a:cubicBezTo>
                  <a:pt x="5344988" y="1013773"/>
                  <a:pt x="5080976" y="958908"/>
                  <a:pt x="4950569" y="972274"/>
                </a:cubicBezTo>
                <a:cubicBezTo>
                  <a:pt x="4820162" y="985640"/>
                  <a:pt x="4722928" y="936473"/>
                  <a:pt x="4633963" y="972274"/>
                </a:cubicBezTo>
                <a:cubicBezTo>
                  <a:pt x="4544998" y="1008075"/>
                  <a:pt x="4467522" y="940733"/>
                  <a:pt x="4317357" y="972274"/>
                </a:cubicBezTo>
                <a:cubicBezTo>
                  <a:pt x="4167192" y="1003815"/>
                  <a:pt x="3987724" y="966154"/>
                  <a:pt x="3741709" y="972274"/>
                </a:cubicBezTo>
                <a:cubicBezTo>
                  <a:pt x="3495694" y="978394"/>
                  <a:pt x="3509527" y="927750"/>
                  <a:pt x="3338756" y="972274"/>
                </a:cubicBezTo>
                <a:cubicBezTo>
                  <a:pt x="3167985" y="1016798"/>
                  <a:pt x="2898435" y="915640"/>
                  <a:pt x="2676761" y="972274"/>
                </a:cubicBezTo>
                <a:cubicBezTo>
                  <a:pt x="2455087" y="1028908"/>
                  <a:pt x="2474532" y="933580"/>
                  <a:pt x="2273808" y="972274"/>
                </a:cubicBezTo>
                <a:cubicBezTo>
                  <a:pt x="2073084" y="1010968"/>
                  <a:pt x="1917587" y="957046"/>
                  <a:pt x="1611813" y="972274"/>
                </a:cubicBezTo>
                <a:cubicBezTo>
                  <a:pt x="1306039" y="987502"/>
                  <a:pt x="1422753" y="967421"/>
                  <a:pt x="1295207" y="972274"/>
                </a:cubicBezTo>
                <a:cubicBezTo>
                  <a:pt x="1167661" y="977127"/>
                  <a:pt x="919396" y="925823"/>
                  <a:pt x="633212" y="972274"/>
                </a:cubicBezTo>
                <a:cubicBezTo>
                  <a:pt x="347028" y="1018725"/>
                  <a:pt x="234440" y="905575"/>
                  <a:pt x="0" y="972274"/>
                </a:cubicBezTo>
                <a:cubicBezTo>
                  <a:pt x="-51899" y="785420"/>
                  <a:pt x="16214" y="647648"/>
                  <a:pt x="0" y="515305"/>
                </a:cubicBezTo>
                <a:cubicBezTo>
                  <a:pt x="-16214" y="382962"/>
                  <a:pt x="41484" y="125336"/>
                  <a:pt x="0" y="0"/>
                </a:cubicBezTo>
                <a:close/>
              </a:path>
            </a:pathLst>
          </a:custGeom>
          <a:solidFill>
            <a:schemeClr val="accent4">
              <a:lumMod val="60000"/>
              <a:lumOff val="40000"/>
            </a:schemeClr>
          </a:solidFill>
          <a:ln>
            <a:solidFill>
              <a:srgbClr val="E2AC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C1F27457-BAE6-46A7-97A3-454EC7BD6546}"/>
              </a:ext>
            </a:extLst>
          </p:cNvPr>
          <p:cNvSpPr txBox="1"/>
          <p:nvPr/>
        </p:nvSpPr>
        <p:spPr>
          <a:xfrm>
            <a:off x="870271" y="273762"/>
            <a:ext cx="8537562" cy="523220"/>
          </a:xfrm>
          <a:prstGeom prst="rect">
            <a:avLst/>
          </a:prstGeom>
          <a:noFill/>
        </p:spPr>
        <p:txBody>
          <a:bodyPr wrap="square" rtlCol="0">
            <a:spAutoFit/>
          </a:bodyPr>
          <a:lstStyle/>
          <a:p>
            <a:r>
              <a:rPr lang="en-US" sz="2800" b="1" i="1" dirty="0">
                <a:solidFill>
                  <a:schemeClr val="accent5"/>
                </a:solidFill>
                <a:latin typeface="Calibri" panose="020F0502020204030204" pitchFamily="34" charset="0"/>
                <a:cs typeface="Calibri" panose="020F0502020204030204" pitchFamily="34" charset="0"/>
              </a:rPr>
              <a:t>How to be involved</a:t>
            </a:r>
            <a:endParaRPr lang="en-US" sz="2000" b="1" i="1" dirty="0">
              <a:solidFill>
                <a:schemeClr val="accent5"/>
              </a:solidFill>
              <a:latin typeface="Calibri" panose="020F0502020204030204" pitchFamily="34" charset="0"/>
              <a:cs typeface="Calibri" panose="020F0502020204030204" pitchFamily="34" charset="0"/>
            </a:endParaRPr>
          </a:p>
        </p:txBody>
      </p:sp>
      <p:sp>
        <p:nvSpPr>
          <p:cNvPr id="40" name="TextBox 39">
            <a:extLst>
              <a:ext uri="{FF2B5EF4-FFF2-40B4-BE49-F238E27FC236}">
                <a16:creationId xmlns:a16="http://schemas.microsoft.com/office/drawing/2014/main" id="{D48FEB49-0589-40E5-82C4-65E0836D30D3}"/>
              </a:ext>
            </a:extLst>
          </p:cNvPr>
          <p:cNvSpPr txBox="1"/>
          <p:nvPr/>
        </p:nvSpPr>
        <p:spPr>
          <a:xfrm>
            <a:off x="912169" y="982718"/>
            <a:ext cx="9120200" cy="1735860"/>
          </a:xfrm>
          <a:custGeom>
            <a:avLst/>
            <a:gdLst>
              <a:gd name="csX0" fmla="*/ 0 w 9120200"/>
              <a:gd name="csY0" fmla="*/ 0 h 1735860"/>
              <a:gd name="csX1" fmla="*/ 9120200 w 9120200"/>
              <a:gd name="csY1" fmla="*/ 0 h 1735860"/>
              <a:gd name="csX2" fmla="*/ 9120200 w 9120200"/>
              <a:gd name="csY2" fmla="*/ 1735860 h 1735860"/>
              <a:gd name="csX3" fmla="*/ 0 w 9120200"/>
              <a:gd name="csY3" fmla="*/ 1735860 h 1735860"/>
              <a:gd name="csX4" fmla="*/ 0 w 9120200"/>
              <a:gd name="csY4" fmla="*/ 0 h 1735860"/>
            </a:gdLst>
            <a:ahLst/>
            <a:cxnLst>
              <a:cxn ang="0">
                <a:pos x="csX0" y="csY0"/>
              </a:cxn>
              <a:cxn ang="0">
                <a:pos x="csX1" y="csY1"/>
              </a:cxn>
              <a:cxn ang="0">
                <a:pos x="csX2" y="csY2"/>
              </a:cxn>
              <a:cxn ang="0">
                <a:pos x="csX3" y="csY3"/>
              </a:cxn>
              <a:cxn ang="0">
                <a:pos x="csX4" y="csY4"/>
              </a:cxn>
            </a:cxnLst>
            <a:rect l="l" t="t" r="r" b="b"/>
            <a:pathLst>
              <a:path w="9120200" h="1735860" extrusionOk="0">
                <a:moveTo>
                  <a:pt x="0" y="0"/>
                </a:moveTo>
                <a:cubicBezTo>
                  <a:pt x="3858397" y="118645"/>
                  <a:pt x="5956482" y="116012"/>
                  <a:pt x="9120200" y="0"/>
                </a:cubicBezTo>
                <a:cubicBezTo>
                  <a:pt x="9140013" y="762293"/>
                  <a:pt x="9041018" y="1495368"/>
                  <a:pt x="9120200" y="1735860"/>
                </a:cubicBezTo>
                <a:cubicBezTo>
                  <a:pt x="7462411" y="1870460"/>
                  <a:pt x="2315009" y="1578664"/>
                  <a:pt x="0" y="1735860"/>
                </a:cubicBezTo>
                <a:cubicBezTo>
                  <a:pt x="-89878" y="1090388"/>
                  <a:pt x="119006" y="277635"/>
                  <a:pt x="0" y="0"/>
                </a:cubicBezTo>
                <a:close/>
              </a:path>
            </a:pathLst>
          </a:custGeom>
          <a:noFill/>
          <a:ln>
            <a:solidFill>
              <a:schemeClr val="bg1"/>
            </a:solidFill>
            <a:extLst>
              <a:ext uri="{C807C97D-BFC1-408E-A445-0C87EB9F89A2}">
                <ask:lineSketchStyleProps xmlns:ask="http://schemas.microsoft.com/office/drawing/2018/sketchyshapes" sd="1219033472">
                  <a:prstGeom prst="rect">
                    <a:avLst/>
                  </a:prstGeom>
                  <ask:type>
                    <ask:lineSketchCurved/>
                  </ask:type>
                </ask:lineSketchStyleProps>
              </a:ext>
            </a:extLst>
          </a:ln>
        </p:spPr>
        <p:txBody>
          <a:bodyPr wrap="square">
            <a:spAutoFit/>
          </a:bodyPr>
          <a:lstStyle/>
          <a:p>
            <a:pPr marL="285750" marR="0" lvl="0" indent="-285750" algn="l" defTabSz="457200" rtl="0" eaLnBrk="1" fontAlgn="auto" latinLnBrk="0" hangingPunct="1">
              <a:lnSpc>
                <a:spcPct val="120000"/>
              </a:lnSpc>
              <a:spcBef>
                <a:spcPts val="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upport with facilitation.</a:t>
            </a:r>
          </a:p>
          <a:p>
            <a:pPr marL="285750" marR="0" lvl="0" indent="-285750" algn="l" defTabSz="457200" rtl="0" eaLnBrk="1" fontAlgn="auto" latinLnBrk="0" hangingPunct="1">
              <a:lnSpc>
                <a:spcPct val="120000"/>
              </a:lnSpc>
              <a:spcBef>
                <a:spcPts val="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Many projects have activities that require parents’ help. </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For example, </a:t>
            </a:r>
            <a:r>
              <a:rPr kumimoji="0" lang="en-US" sz="1600" b="0" i="1" u="none" strike="noStrike" kern="1200" cap="none" spc="0" normalizeH="0" baseline="0" noProof="0" dirty="0">
                <a:ln>
                  <a:noFill/>
                </a:ln>
                <a:solidFill>
                  <a:srgbClr val="C00000"/>
                </a:solidFill>
                <a:effectLst/>
                <a:uLnTx/>
                <a:uFillTx/>
                <a:latin typeface="Calibri" panose="020F0502020204030204"/>
                <a:ea typeface="+mn-ea"/>
                <a:cs typeface="+mn-cs"/>
              </a:rPr>
              <a:t>Pop-Up Restaurant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requires help with cooking, </a:t>
            </a:r>
            <a:r>
              <a:rPr kumimoji="0" lang="en-US" sz="1600" b="0" i="1" u="none" strike="noStrike" kern="1200" cap="none" spc="0" normalizeH="0" baseline="0" noProof="0" dirty="0">
                <a:ln>
                  <a:noFill/>
                </a:ln>
                <a:solidFill>
                  <a:srgbClr val="C00000"/>
                </a:solidFill>
                <a:effectLst/>
                <a:uLnTx/>
                <a:uFillTx/>
                <a:latin typeface="Calibri" panose="020F0502020204030204"/>
                <a:ea typeface="+mn-ea"/>
                <a:cs typeface="+mn-cs"/>
              </a:rPr>
              <a:t>Grandmother’s Tale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requires students to create their own version of a folk story narrated by parents/grandparents and </a:t>
            </a:r>
            <a:r>
              <a:rPr kumimoji="0" lang="en-US" sz="1600" b="0" i="1" u="none" strike="noStrike" kern="1200" cap="none" spc="0" normalizeH="0" baseline="0" noProof="0" dirty="0">
                <a:ln>
                  <a:noFill/>
                </a:ln>
                <a:solidFill>
                  <a:srgbClr val="C00000"/>
                </a:solidFill>
                <a:effectLst/>
                <a:uLnTx/>
                <a:uFillTx/>
                <a:latin typeface="Calibri" panose="020F0502020204030204"/>
                <a:ea typeface="+mn-ea"/>
                <a:cs typeface="+mn-cs"/>
              </a:rPr>
              <a:t>Make</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1" u="none" strike="noStrike" kern="1200" cap="none" spc="0" normalizeH="0" baseline="0" noProof="0" dirty="0">
                <a:ln>
                  <a:noFill/>
                </a:ln>
                <a:solidFill>
                  <a:srgbClr val="C00000"/>
                </a:solidFill>
                <a:effectLst/>
                <a:uLnTx/>
                <a:uFillTx/>
                <a:latin typeface="Calibri" panose="020F0502020204030204"/>
                <a:ea typeface="+mn-ea"/>
                <a:cs typeface="+mn-cs"/>
              </a:rPr>
              <a:t>ID Cards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requires students to interview family members.</a:t>
            </a:r>
          </a:p>
        </p:txBody>
      </p:sp>
      <p:grpSp>
        <p:nvGrpSpPr>
          <p:cNvPr id="2" name="Group 2">
            <a:extLst>
              <a:ext uri="{FF2B5EF4-FFF2-40B4-BE49-F238E27FC236}">
                <a16:creationId xmlns:a16="http://schemas.microsoft.com/office/drawing/2014/main" id="{D5BA1DE0-B954-472B-60DE-3BC96174EE8B}"/>
              </a:ext>
            </a:extLst>
          </p:cNvPr>
          <p:cNvGrpSpPr/>
          <p:nvPr/>
        </p:nvGrpSpPr>
        <p:grpSpPr>
          <a:xfrm>
            <a:off x="796260" y="3599030"/>
            <a:ext cx="2093837" cy="1904886"/>
            <a:chOff x="0" y="0"/>
            <a:chExt cx="1249978" cy="1702186"/>
          </a:xfrm>
        </p:grpSpPr>
        <p:sp>
          <p:nvSpPr>
            <p:cNvPr id="4" name="Freeform 3">
              <a:extLst>
                <a:ext uri="{FF2B5EF4-FFF2-40B4-BE49-F238E27FC236}">
                  <a16:creationId xmlns:a16="http://schemas.microsoft.com/office/drawing/2014/main" id="{FABF9DEA-EDB1-ACC7-63B9-0C55E5A406C3}"/>
                </a:ext>
              </a:extLst>
            </p:cNvPr>
            <p:cNvSpPr/>
            <p:nvPr/>
          </p:nvSpPr>
          <p:spPr>
            <a:xfrm>
              <a:off x="0" y="0"/>
              <a:ext cx="1249977" cy="1702186"/>
            </a:xfrm>
            <a:custGeom>
              <a:avLst/>
              <a:gdLst/>
              <a:ahLst/>
              <a:cxnLst/>
              <a:rect l="l" t="t" r="r" b="b"/>
              <a:pathLst>
                <a:path w="1249977" h="1702186">
                  <a:moveTo>
                    <a:pt x="0" y="0"/>
                  </a:moveTo>
                  <a:lnTo>
                    <a:pt x="1249977" y="0"/>
                  </a:lnTo>
                  <a:lnTo>
                    <a:pt x="1249977" y="1702186"/>
                  </a:lnTo>
                  <a:lnTo>
                    <a:pt x="0" y="1702186"/>
                  </a:lnTo>
                  <a:close/>
                </a:path>
              </a:pathLst>
            </a:custGeom>
            <a:solidFill>
              <a:srgbClr val="D3A29D"/>
            </a:solidFill>
          </p:spPr>
        </p:sp>
      </p:grpSp>
      <p:grpSp>
        <p:nvGrpSpPr>
          <p:cNvPr id="6" name="Group 4">
            <a:extLst>
              <a:ext uri="{FF2B5EF4-FFF2-40B4-BE49-F238E27FC236}">
                <a16:creationId xmlns:a16="http://schemas.microsoft.com/office/drawing/2014/main" id="{F6237ED9-4DCF-0266-220A-944155522ECB}"/>
              </a:ext>
            </a:extLst>
          </p:cNvPr>
          <p:cNvGrpSpPr/>
          <p:nvPr/>
        </p:nvGrpSpPr>
        <p:grpSpPr>
          <a:xfrm>
            <a:off x="2962977" y="3599030"/>
            <a:ext cx="2093837" cy="1904886"/>
            <a:chOff x="0" y="0"/>
            <a:chExt cx="1249978" cy="1702186"/>
          </a:xfrm>
        </p:grpSpPr>
        <p:sp>
          <p:nvSpPr>
            <p:cNvPr id="7" name="Freeform 5">
              <a:extLst>
                <a:ext uri="{FF2B5EF4-FFF2-40B4-BE49-F238E27FC236}">
                  <a16:creationId xmlns:a16="http://schemas.microsoft.com/office/drawing/2014/main" id="{33F8BE37-17BE-51DF-8C4F-E3B24DB96D54}"/>
                </a:ext>
              </a:extLst>
            </p:cNvPr>
            <p:cNvSpPr/>
            <p:nvPr/>
          </p:nvSpPr>
          <p:spPr>
            <a:xfrm>
              <a:off x="0" y="0"/>
              <a:ext cx="1249977" cy="1702186"/>
            </a:xfrm>
            <a:custGeom>
              <a:avLst/>
              <a:gdLst/>
              <a:ahLst/>
              <a:cxnLst/>
              <a:rect l="l" t="t" r="r" b="b"/>
              <a:pathLst>
                <a:path w="1249977" h="1702186">
                  <a:moveTo>
                    <a:pt x="0" y="0"/>
                  </a:moveTo>
                  <a:lnTo>
                    <a:pt x="1249977" y="0"/>
                  </a:lnTo>
                  <a:lnTo>
                    <a:pt x="1249977" y="1702186"/>
                  </a:lnTo>
                  <a:lnTo>
                    <a:pt x="0" y="1702186"/>
                  </a:lnTo>
                  <a:close/>
                </a:path>
              </a:pathLst>
            </a:custGeom>
            <a:solidFill>
              <a:srgbClr val="BDD1C5"/>
            </a:solidFill>
          </p:spPr>
        </p:sp>
      </p:grpSp>
      <p:grpSp>
        <p:nvGrpSpPr>
          <p:cNvPr id="8" name="Group 6">
            <a:extLst>
              <a:ext uri="{FF2B5EF4-FFF2-40B4-BE49-F238E27FC236}">
                <a16:creationId xmlns:a16="http://schemas.microsoft.com/office/drawing/2014/main" id="{EACF487F-A22A-9216-8002-613898F2B12D}"/>
              </a:ext>
            </a:extLst>
          </p:cNvPr>
          <p:cNvGrpSpPr/>
          <p:nvPr/>
        </p:nvGrpSpPr>
        <p:grpSpPr>
          <a:xfrm>
            <a:off x="5128509" y="3599030"/>
            <a:ext cx="2093837" cy="1904886"/>
            <a:chOff x="0" y="0"/>
            <a:chExt cx="1249978" cy="1702186"/>
          </a:xfrm>
        </p:grpSpPr>
        <p:sp>
          <p:nvSpPr>
            <p:cNvPr id="9" name="Freeform 7">
              <a:extLst>
                <a:ext uri="{FF2B5EF4-FFF2-40B4-BE49-F238E27FC236}">
                  <a16:creationId xmlns:a16="http://schemas.microsoft.com/office/drawing/2014/main" id="{F5951B9B-605B-65BA-D8C0-E8370F7A266E}"/>
                </a:ext>
              </a:extLst>
            </p:cNvPr>
            <p:cNvSpPr/>
            <p:nvPr/>
          </p:nvSpPr>
          <p:spPr>
            <a:xfrm>
              <a:off x="0" y="0"/>
              <a:ext cx="1249977" cy="1702186"/>
            </a:xfrm>
            <a:custGeom>
              <a:avLst/>
              <a:gdLst/>
              <a:ahLst/>
              <a:cxnLst/>
              <a:rect l="l" t="t" r="r" b="b"/>
              <a:pathLst>
                <a:path w="1249977" h="1702186">
                  <a:moveTo>
                    <a:pt x="0" y="0"/>
                  </a:moveTo>
                  <a:lnTo>
                    <a:pt x="1249977" y="0"/>
                  </a:lnTo>
                  <a:lnTo>
                    <a:pt x="1249977" y="1702186"/>
                  </a:lnTo>
                  <a:lnTo>
                    <a:pt x="0" y="1702186"/>
                  </a:lnTo>
                  <a:close/>
                </a:path>
              </a:pathLst>
            </a:custGeom>
            <a:solidFill>
              <a:srgbClr val="E8B298"/>
            </a:solidFill>
          </p:spPr>
        </p:sp>
      </p:grpSp>
      <p:grpSp>
        <p:nvGrpSpPr>
          <p:cNvPr id="10" name="Group 8">
            <a:extLst>
              <a:ext uri="{FF2B5EF4-FFF2-40B4-BE49-F238E27FC236}">
                <a16:creationId xmlns:a16="http://schemas.microsoft.com/office/drawing/2014/main" id="{4BBEA95F-D250-4E2D-608E-469593500461}"/>
              </a:ext>
            </a:extLst>
          </p:cNvPr>
          <p:cNvGrpSpPr/>
          <p:nvPr/>
        </p:nvGrpSpPr>
        <p:grpSpPr>
          <a:xfrm>
            <a:off x="7295227" y="3599030"/>
            <a:ext cx="2093837" cy="1904886"/>
            <a:chOff x="0" y="0"/>
            <a:chExt cx="1249978" cy="1702186"/>
          </a:xfrm>
        </p:grpSpPr>
        <p:sp>
          <p:nvSpPr>
            <p:cNvPr id="11" name="Freeform 9">
              <a:extLst>
                <a:ext uri="{FF2B5EF4-FFF2-40B4-BE49-F238E27FC236}">
                  <a16:creationId xmlns:a16="http://schemas.microsoft.com/office/drawing/2014/main" id="{149FC2F4-FFAA-2DD1-5F1E-164EC1046A1C}"/>
                </a:ext>
              </a:extLst>
            </p:cNvPr>
            <p:cNvSpPr/>
            <p:nvPr/>
          </p:nvSpPr>
          <p:spPr>
            <a:xfrm>
              <a:off x="0" y="0"/>
              <a:ext cx="1249977" cy="1702186"/>
            </a:xfrm>
            <a:custGeom>
              <a:avLst/>
              <a:gdLst/>
              <a:ahLst/>
              <a:cxnLst/>
              <a:rect l="l" t="t" r="r" b="b"/>
              <a:pathLst>
                <a:path w="1249977" h="1702186">
                  <a:moveTo>
                    <a:pt x="0" y="0"/>
                  </a:moveTo>
                  <a:lnTo>
                    <a:pt x="1249977" y="0"/>
                  </a:lnTo>
                  <a:lnTo>
                    <a:pt x="1249977" y="1702186"/>
                  </a:lnTo>
                  <a:lnTo>
                    <a:pt x="0" y="1702186"/>
                  </a:lnTo>
                  <a:close/>
                </a:path>
              </a:pathLst>
            </a:custGeom>
            <a:solidFill>
              <a:srgbClr val="EECC8C"/>
            </a:solidFill>
          </p:spPr>
        </p:sp>
      </p:grpSp>
      <p:grpSp>
        <p:nvGrpSpPr>
          <p:cNvPr id="13" name="Group 10">
            <a:extLst>
              <a:ext uri="{FF2B5EF4-FFF2-40B4-BE49-F238E27FC236}">
                <a16:creationId xmlns:a16="http://schemas.microsoft.com/office/drawing/2014/main" id="{A60DAEB1-1D7A-3ADF-C436-BCDF47B232CE}"/>
              </a:ext>
            </a:extLst>
          </p:cNvPr>
          <p:cNvGrpSpPr/>
          <p:nvPr/>
        </p:nvGrpSpPr>
        <p:grpSpPr>
          <a:xfrm>
            <a:off x="9460758" y="3599030"/>
            <a:ext cx="2093837" cy="1904886"/>
            <a:chOff x="0" y="0"/>
            <a:chExt cx="1249978" cy="1702186"/>
          </a:xfrm>
        </p:grpSpPr>
        <p:sp>
          <p:nvSpPr>
            <p:cNvPr id="14" name="Freeform 11">
              <a:extLst>
                <a:ext uri="{FF2B5EF4-FFF2-40B4-BE49-F238E27FC236}">
                  <a16:creationId xmlns:a16="http://schemas.microsoft.com/office/drawing/2014/main" id="{6478D7E5-91DA-523A-5C62-B7B91AD459DE}"/>
                </a:ext>
              </a:extLst>
            </p:cNvPr>
            <p:cNvSpPr/>
            <p:nvPr/>
          </p:nvSpPr>
          <p:spPr>
            <a:xfrm>
              <a:off x="0" y="0"/>
              <a:ext cx="1249977" cy="1702186"/>
            </a:xfrm>
            <a:custGeom>
              <a:avLst/>
              <a:gdLst/>
              <a:ahLst/>
              <a:cxnLst/>
              <a:rect l="l" t="t" r="r" b="b"/>
              <a:pathLst>
                <a:path w="1249977" h="1702186">
                  <a:moveTo>
                    <a:pt x="0" y="0"/>
                  </a:moveTo>
                  <a:lnTo>
                    <a:pt x="1249977" y="0"/>
                  </a:lnTo>
                  <a:lnTo>
                    <a:pt x="1249977" y="1702186"/>
                  </a:lnTo>
                  <a:lnTo>
                    <a:pt x="0" y="1702186"/>
                  </a:lnTo>
                  <a:close/>
                </a:path>
              </a:pathLst>
            </a:custGeom>
            <a:solidFill>
              <a:srgbClr val="9EABA2"/>
            </a:solidFill>
          </p:spPr>
        </p:sp>
      </p:grpSp>
      <p:grpSp>
        <p:nvGrpSpPr>
          <p:cNvPr id="15" name="Group 12">
            <a:extLst>
              <a:ext uri="{FF2B5EF4-FFF2-40B4-BE49-F238E27FC236}">
                <a16:creationId xmlns:a16="http://schemas.microsoft.com/office/drawing/2014/main" id="{22674B58-F268-1B7C-2092-0BC81CC08E49}"/>
              </a:ext>
            </a:extLst>
          </p:cNvPr>
          <p:cNvGrpSpPr>
            <a:grpSpLocks noChangeAspect="1"/>
          </p:cNvGrpSpPr>
          <p:nvPr/>
        </p:nvGrpSpPr>
        <p:grpSpPr>
          <a:xfrm>
            <a:off x="1281451" y="3037302"/>
            <a:ext cx="1123454" cy="1123454"/>
            <a:chOff x="0" y="0"/>
            <a:chExt cx="495300" cy="495300"/>
          </a:xfrm>
        </p:grpSpPr>
        <p:sp>
          <p:nvSpPr>
            <p:cNvPr id="16" name="Freeform 13">
              <a:extLst>
                <a:ext uri="{FF2B5EF4-FFF2-40B4-BE49-F238E27FC236}">
                  <a16:creationId xmlns:a16="http://schemas.microsoft.com/office/drawing/2014/main" id="{8FFD8F46-6E69-E504-B670-888F74CD0ACD}"/>
                </a:ext>
              </a:extLst>
            </p:cNvPr>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8EBDB"/>
            </a:solidFill>
          </p:spPr>
        </p:sp>
        <p:sp>
          <p:nvSpPr>
            <p:cNvPr id="17" name="Freeform 14">
              <a:extLst>
                <a:ext uri="{FF2B5EF4-FFF2-40B4-BE49-F238E27FC236}">
                  <a16:creationId xmlns:a16="http://schemas.microsoft.com/office/drawing/2014/main" id="{81EDF6D7-C3F2-391D-73B4-6EFA13FF0FBD}"/>
                </a:ext>
              </a:extLst>
            </p:cNvPr>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D3A29D"/>
            </a:solidFill>
          </p:spPr>
        </p:sp>
      </p:grpSp>
      <p:grpSp>
        <p:nvGrpSpPr>
          <p:cNvPr id="18" name="Group 15">
            <a:extLst>
              <a:ext uri="{FF2B5EF4-FFF2-40B4-BE49-F238E27FC236}">
                <a16:creationId xmlns:a16="http://schemas.microsoft.com/office/drawing/2014/main" id="{875A748E-6398-4609-17FF-63228EFE2708}"/>
              </a:ext>
            </a:extLst>
          </p:cNvPr>
          <p:cNvGrpSpPr>
            <a:grpSpLocks noChangeAspect="1"/>
          </p:cNvGrpSpPr>
          <p:nvPr/>
        </p:nvGrpSpPr>
        <p:grpSpPr>
          <a:xfrm>
            <a:off x="3448169" y="3037302"/>
            <a:ext cx="1123454" cy="1123454"/>
            <a:chOff x="0" y="0"/>
            <a:chExt cx="495300" cy="495300"/>
          </a:xfrm>
        </p:grpSpPr>
        <p:sp>
          <p:nvSpPr>
            <p:cNvPr id="20" name="Freeform 16">
              <a:extLst>
                <a:ext uri="{FF2B5EF4-FFF2-40B4-BE49-F238E27FC236}">
                  <a16:creationId xmlns:a16="http://schemas.microsoft.com/office/drawing/2014/main" id="{E263319D-D619-8CCD-4F9D-CC97BE177080}"/>
                </a:ext>
              </a:extLst>
            </p:cNvPr>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8EBDB"/>
            </a:solidFill>
          </p:spPr>
        </p:sp>
        <p:sp>
          <p:nvSpPr>
            <p:cNvPr id="21" name="Freeform 17">
              <a:extLst>
                <a:ext uri="{FF2B5EF4-FFF2-40B4-BE49-F238E27FC236}">
                  <a16:creationId xmlns:a16="http://schemas.microsoft.com/office/drawing/2014/main" id="{BBBF8603-A809-C307-6C5A-43CCD1658B4A}"/>
                </a:ext>
              </a:extLst>
            </p:cNvPr>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BDD1C5"/>
            </a:solidFill>
          </p:spPr>
        </p:sp>
      </p:grpSp>
      <p:grpSp>
        <p:nvGrpSpPr>
          <p:cNvPr id="24" name="Group 20">
            <a:extLst>
              <a:ext uri="{FF2B5EF4-FFF2-40B4-BE49-F238E27FC236}">
                <a16:creationId xmlns:a16="http://schemas.microsoft.com/office/drawing/2014/main" id="{9B70B993-E3C7-785C-01F6-F1E1A71DB0F8}"/>
              </a:ext>
            </a:extLst>
          </p:cNvPr>
          <p:cNvGrpSpPr>
            <a:grpSpLocks noChangeAspect="1"/>
          </p:cNvGrpSpPr>
          <p:nvPr/>
        </p:nvGrpSpPr>
        <p:grpSpPr>
          <a:xfrm>
            <a:off x="5613701" y="3037302"/>
            <a:ext cx="1123454" cy="1123454"/>
            <a:chOff x="0" y="0"/>
            <a:chExt cx="495300" cy="495300"/>
          </a:xfrm>
        </p:grpSpPr>
        <p:sp>
          <p:nvSpPr>
            <p:cNvPr id="25" name="Freeform 21">
              <a:extLst>
                <a:ext uri="{FF2B5EF4-FFF2-40B4-BE49-F238E27FC236}">
                  <a16:creationId xmlns:a16="http://schemas.microsoft.com/office/drawing/2014/main" id="{FB8BADFC-ED88-0D7A-AC92-BB11052BAA2C}"/>
                </a:ext>
              </a:extLst>
            </p:cNvPr>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8EBDB"/>
            </a:solidFill>
          </p:spPr>
        </p:sp>
        <p:sp>
          <p:nvSpPr>
            <p:cNvPr id="26" name="Freeform 22">
              <a:extLst>
                <a:ext uri="{FF2B5EF4-FFF2-40B4-BE49-F238E27FC236}">
                  <a16:creationId xmlns:a16="http://schemas.microsoft.com/office/drawing/2014/main" id="{90039FD3-C6E0-8C92-4878-5B4E52A2A32A}"/>
                </a:ext>
              </a:extLst>
            </p:cNvPr>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E8B298"/>
            </a:solidFill>
          </p:spPr>
        </p:sp>
      </p:grpSp>
      <p:grpSp>
        <p:nvGrpSpPr>
          <p:cNvPr id="27" name="Group 23">
            <a:extLst>
              <a:ext uri="{FF2B5EF4-FFF2-40B4-BE49-F238E27FC236}">
                <a16:creationId xmlns:a16="http://schemas.microsoft.com/office/drawing/2014/main" id="{488D04E4-7CD1-F390-F576-8A8A5C8BF749}"/>
              </a:ext>
            </a:extLst>
          </p:cNvPr>
          <p:cNvGrpSpPr>
            <a:grpSpLocks noChangeAspect="1"/>
          </p:cNvGrpSpPr>
          <p:nvPr/>
        </p:nvGrpSpPr>
        <p:grpSpPr>
          <a:xfrm>
            <a:off x="7780418" y="3037302"/>
            <a:ext cx="1123454" cy="1123454"/>
            <a:chOff x="0" y="0"/>
            <a:chExt cx="495300" cy="495300"/>
          </a:xfrm>
        </p:grpSpPr>
        <p:sp>
          <p:nvSpPr>
            <p:cNvPr id="28" name="Freeform 24">
              <a:extLst>
                <a:ext uri="{FF2B5EF4-FFF2-40B4-BE49-F238E27FC236}">
                  <a16:creationId xmlns:a16="http://schemas.microsoft.com/office/drawing/2014/main" id="{C038E68A-2D9E-0C73-1795-BDD501A22B13}"/>
                </a:ext>
              </a:extLst>
            </p:cNvPr>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8EBDB"/>
            </a:solidFill>
          </p:spPr>
        </p:sp>
        <p:sp>
          <p:nvSpPr>
            <p:cNvPr id="29" name="Freeform 25">
              <a:extLst>
                <a:ext uri="{FF2B5EF4-FFF2-40B4-BE49-F238E27FC236}">
                  <a16:creationId xmlns:a16="http://schemas.microsoft.com/office/drawing/2014/main" id="{ED250EA9-628F-3110-915E-2BD1B0EE27D7}"/>
                </a:ext>
              </a:extLst>
            </p:cNvPr>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EECC8C"/>
            </a:solidFill>
          </p:spPr>
        </p:sp>
      </p:grpSp>
      <p:grpSp>
        <p:nvGrpSpPr>
          <p:cNvPr id="30" name="Group 26">
            <a:extLst>
              <a:ext uri="{FF2B5EF4-FFF2-40B4-BE49-F238E27FC236}">
                <a16:creationId xmlns:a16="http://schemas.microsoft.com/office/drawing/2014/main" id="{7C589132-F435-17D6-56EE-234BE27E04DF}"/>
              </a:ext>
            </a:extLst>
          </p:cNvPr>
          <p:cNvGrpSpPr>
            <a:grpSpLocks noChangeAspect="1"/>
          </p:cNvGrpSpPr>
          <p:nvPr/>
        </p:nvGrpSpPr>
        <p:grpSpPr>
          <a:xfrm>
            <a:off x="9945949" y="3037302"/>
            <a:ext cx="1123454" cy="1123454"/>
            <a:chOff x="0" y="0"/>
            <a:chExt cx="495300" cy="495300"/>
          </a:xfrm>
        </p:grpSpPr>
        <p:sp>
          <p:nvSpPr>
            <p:cNvPr id="31" name="Freeform 27">
              <a:extLst>
                <a:ext uri="{FF2B5EF4-FFF2-40B4-BE49-F238E27FC236}">
                  <a16:creationId xmlns:a16="http://schemas.microsoft.com/office/drawing/2014/main" id="{B0CA7B00-037F-DFB3-4BCC-0896B6D7B9DE}"/>
                </a:ext>
              </a:extLst>
            </p:cNvPr>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8EBDB"/>
            </a:solidFill>
          </p:spPr>
        </p:sp>
        <p:sp>
          <p:nvSpPr>
            <p:cNvPr id="32" name="Freeform 28">
              <a:extLst>
                <a:ext uri="{FF2B5EF4-FFF2-40B4-BE49-F238E27FC236}">
                  <a16:creationId xmlns:a16="http://schemas.microsoft.com/office/drawing/2014/main" id="{F821B11C-3A3B-6FFF-C801-3207E8B2EC3C}"/>
                </a:ext>
              </a:extLst>
            </p:cNvPr>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9EABA2"/>
            </a:solidFill>
          </p:spPr>
        </p:sp>
      </p:grpSp>
      <p:sp>
        <p:nvSpPr>
          <p:cNvPr id="36" name="TextBox 42">
            <a:extLst>
              <a:ext uri="{FF2B5EF4-FFF2-40B4-BE49-F238E27FC236}">
                <a16:creationId xmlns:a16="http://schemas.microsoft.com/office/drawing/2014/main" id="{DE335FEB-8B01-B9D9-8DE2-8CB90007A284}"/>
              </a:ext>
            </a:extLst>
          </p:cNvPr>
          <p:cNvSpPr txBox="1"/>
          <p:nvPr/>
        </p:nvSpPr>
        <p:spPr>
          <a:xfrm>
            <a:off x="870271" y="4339693"/>
            <a:ext cx="1946352" cy="1034129"/>
          </a:xfrm>
          <a:prstGeom prst="rect">
            <a:avLst/>
          </a:prstGeom>
        </p:spPr>
        <p:txBody>
          <a:bodyPr lIns="0" tIns="0" rIns="0" bIns="0" rtlCol="0" anchor="t">
            <a:spAutoFit/>
          </a:bodyPr>
          <a:lstStyle/>
          <a:p>
            <a:pPr algn="ctr" defTabSz="457200">
              <a:lnSpc>
                <a:spcPct val="120000"/>
              </a:lnSpc>
              <a:defRPr/>
            </a:pPr>
            <a:r>
              <a:rPr lang="en-GB" sz="1400" dirty="0">
                <a:solidFill>
                  <a:prstClr val="black"/>
                </a:solidFill>
                <a:latin typeface="Calibri" panose="020F0502020204030204"/>
              </a:rPr>
              <a:t>You can review your child’s work or give feedback on a project activity or the final product they create.</a:t>
            </a:r>
          </a:p>
        </p:txBody>
      </p:sp>
      <p:sp>
        <p:nvSpPr>
          <p:cNvPr id="37" name="TextBox 43">
            <a:extLst>
              <a:ext uri="{FF2B5EF4-FFF2-40B4-BE49-F238E27FC236}">
                <a16:creationId xmlns:a16="http://schemas.microsoft.com/office/drawing/2014/main" id="{E96CBBC5-59B8-3E5B-7976-4C851E1C3C15}"/>
              </a:ext>
            </a:extLst>
          </p:cNvPr>
          <p:cNvSpPr txBox="1"/>
          <p:nvPr/>
        </p:nvSpPr>
        <p:spPr>
          <a:xfrm>
            <a:off x="3047832" y="4339693"/>
            <a:ext cx="1924666" cy="1034129"/>
          </a:xfrm>
          <a:prstGeom prst="rect">
            <a:avLst/>
          </a:prstGeom>
        </p:spPr>
        <p:txBody>
          <a:bodyPr lIns="0" tIns="0" rIns="0" bIns="0" rtlCol="0" anchor="t">
            <a:spAutoFit/>
          </a:bodyPr>
          <a:lstStyle/>
          <a:p>
            <a:pPr algn="ctr" defTabSz="457200">
              <a:lnSpc>
                <a:spcPct val="120000"/>
              </a:lnSpc>
              <a:defRPr/>
            </a:pPr>
            <a:r>
              <a:rPr lang="en-GB" sz="1400" dirty="0">
                <a:solidFill>
                  <a:prstClr val="black"/>
                </a:solidFill>
                <a:latin typeface="Calibri" panose="020F0502020204030204"/>
              </a:rPr>
              <a:t>Be an audience for your child’s presentation of their work and final </a:t>
            </a:r>
            <a:r>
              <a:rPr lang="en-GB" sz="1400" dirty="0">
                <a:solidFill>
                  <a:prstClr val="black"/>
                </a:solidFill>
              </a:rPr>
              <a:t>product</a:t>
            </a:r>
          </a:p>
        </p:txBody>
      </p:sp>
      <p:sp>
        <p:nvSpPr>
          <p:cNvPr id="38" name="TextBox 44">
            <a:extLst>
              <a:ext uri="{FF2B5EF4-FFF2-40B4-BE49-F238E27FC236}">
                <a16:creationId xmlns:a16="http://schemas.microsoft.com/office/drawing/2014/main" id="{6E04AE0A-EC08-E04A-7759-1218C6E84D7F}"/>
              </a:ext>
            </a:extLst>
          </p:cNvPr>
          <p:cNvSpPr txBox="1"/>
          <p:nvPr/>
        </p:nvSpPr>
        <p:spPr>
          <a:xfrm>
            <a:off x="5138080" y="4339692"/>
            <a:ext cx="2084535" cy="1016881"/>
          </a:xfrm>
          <a:prstGeom prst="rect">
            <a:avLst/>
          </a:prstGeom>
        </p:spPr>
        <p:txBody>
          <a:bodyPr lIns="0" tIns="0" rIns="0" bIns="0" rtlCol="0" anchor="t">
            <a:spAutoFit/>
          </a:bodyPr>
          <a:lstStyle/>
          <a:p>
            <a:pPr algn="ctr" defTabSz="457200">
              <a:lnSpc>
                <a:spcPct val="120000"/>
              </a:lnSpc>
              <a:defRPr/>
            </a:pPr>
            <a:r>
              <a:rPr lang="en-GB" sz="1400" dirty="0">
                <a:solidFill>
                  <a:prstClr val="black"/>
                </a:solidFill>
                <a:latin typeface="Calibri" panose="020F0502020204030204"/>
              </a:rPr>
              <a:t>Provide learners with resources and materials </a:t>
            </a:r>
            <a:r>
              <a:rPr lang="en-GB" sz="1400" dirty="0">
                <a:latin typeface="Calibri" panose="020F0502020204030204"/>
              </a:rPr>
              <a:t>needed to do project activities.</a:t>
            </a:r>
          </a:p>
        </p:txBody>
      </p:sp>
      <p:sp>
        <p:nvSpPr>
          <p:cNvPr id="39" name="TextBox 45">
            <a:extLst>
              <a:ext uri="{FF2B5EF4-FFF2-40B4-BE49-F238E27FC236}">
                <a16:creationId xmlns:a16="http://schemas.microsoft.com/office/drawing/2014/main" id="{47A28030-9511-2491-AEF1-69B3B521F3F6}"/>
              </a:ext>
            </a:extLst>
          </p:cNvPr>
          <p:cNvSpPr txBox="1"/>
          <p:nvPr/>
        </p:nvSpPr>
        <p:spPr>
          <a:xfrm>
            <a:off x="7386554" y="4339692"/>
            <a:ext cx="1911721" cy="499752"/>
          </a:xfrm>
          <a:prstGeom prst="rect">
            <a:avLst/>
          </a:prstGeom>
        </p:spPr>
        <p:txBody>
          <a:bodyPr lIns="0" tIns="0" rIns="0" bIns="0" rtlCol="0" anchor="t">
            <a:spAutoFit/>
          </a:bodyPr>
          <a:lstStyle/>
          <a:p>
            <a:pPr algn="ctr" defTabSz="457200">
              <a:lnSpc>
                <a:spcPct val="120000"/>
              </a:lnSpc>
              <a:defRPr/>
            </a:pPr>
            <a:r>
              <a:rPr lang="en-US" sz="1400" dirty="0">
                <a:solidFill>
                  <a:prstClr val="black"/>
                </a:solidFill>
                <a:latin typeface="Calibri" panose="020F0502020204030204"/>
              </a:rPr>
              <a:t>Volunteering to support facilitators</a:t>
            </a:r>
            <a:endParaRPr lang="en-QA" sz="1400" dirty="0">
              <a:solidFill>
                <a:prstClr val="black"/>
              </a:solidFill>
              <a:latin typeface="Calibri" panose="020F0502020204030204"/>
            </a:endParaRPr>
          </a:p>
        </p:txBody>
      </p:sp>
      <p:sp>
        <p:nvSpPr>
          <p:cNvPr id="41" name="TextBox 46">
            <a:extLst>
              <a:ext uri="{FF2B5EF4-FFF2-40B4-BE49-F238E27FC236}">
                <a16:creationId xmlns:a16="http://schemas.microsoft.com/office/drawing/2014/main" id="{BFA78363-B3BF-8E12-8D5B-677C3ACF64EB}"/>
              </a:ext>
            </a:extLst>
          </p:cNvPr>
          <p:cNvSpPr txBox="1"/>
          <p:nvPr/>
        </p:nvSpPr>
        <p:spPr>
          <a:xfrm>
            <a:off x="9716990" y="4339693"/>
            <a:ext cx="1581909" cy="775597"/>
          </a:xfrm>
          <a:prstGeom prst="rect">
            <a:avLst/>
          </a:prstGeom>
        </p:spPr>
        <p:txBody>
          <a:bodyPr lIns="0" tIns="0" rIns="0" bIns="0" rtlCol="0" anchor="t">
            <a:spAutoFit/>
          </a:bodyPr>
          <a:lstStyle/>
          <a:p>
            <a:pPr algn="ctr" defTabSz="457200">
              <a:lnSpc>
                <a:spcPct val="120000"/>
              </a:lnSpc>
              <a:defRPr/>
            </a:pPr>
            <a:r>
              <a:rPr lang="en-QA" sz="1400" dirty="0">
                <a:solidFill>
                  <a:prstClr val="black"/>
                </a:solidFill>
                <a:latin typeface="Calibri" panose="020F0502020204030204"/>
              </a:rPr>
              <a:t>Suggest topics for future projects</a:t>
            </a:r>
            <a:r>
              <a:rPr lang="en-US" sz="1400" dirty="0">
                <a:solidFill>
                  <a:prstClr val="black"/>
                </a:solidFill>
                <a:latin typeface="Calibri" panose="020F0502020204030204"/>
              </a:rPr>
              <a:t> </a:t>
            </a:r>
            <a:r>
              <a:rPr lang="en-US" sz="1400" dirty="0">
                <a:latin typeface="Calibri" panose="020F0502020204030204"/>
              </a:rPr>
              <a:t>to facilitators.</a:t>
            </a:r>
            <a:endParaRPr lang="en-QA" sz="1400" dirty="0">
              <a:latin typeface="Calibri" panose="020F0502020204030204"/>
            </a:endParaRPr>
          </a:p>
        </p:txBody>
      </p:sp>
      <p:pic>
        <p:nvPicPr>
          <p:cNvPr id="48" name="Picture 2">
            <a:extLst>
              <a:ext uri="{FF2B5EF4-FFF2-40B4-BE49-F238E27FC236}">
                <a16:creationId xmlns:a16="http://schemas.microsoft.com/office/drawing/2014/main" id="{7F47B8BB-7068-3B70-D3C5-87FE4F6D978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394108" y="3154362"/>
            <a:ext cx="884182" cy="885289"/>
          </a:xfrm>
          <a:prstGeom prst="rect">
            <a:avLst/>
          </a:prstGeom>
        </p:spPr>
      </p:pic>
      <p:pic>
        <p:nvPicPr>
          <p:cNvPr id="49" name="Picture 3">
            <a:extLst>
              <a:ext uri="{FF2B5EF4-FFF2-40B4-BE49-F238E27FC236}">
                <a16:creationId xmlns:a16="http://schemas.microsoft.com/office/drawing/2014/main" id="{537D7771-80D4-5C36-219A-5934CF54CE8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3613175" y="3275467"/>
            <a:ext cx="748834" cy="673014"/>
          </a:xfrm>
          <a:prstGeom prst="rect">
            <a:avLst/>
          </a:prstGeom>
        </p:spPr>
      </p:pic>
      <p:pic>
        <p:nvPicPr>
          <p:cNvPr id="50" name="Picture 4">
            <a:extLst>
              <a:ext uri="{FF2B5EF4-FFF2-40B4-BE49-F238E27FC236}">
                <a16:creationId xmlns:a16="http://schemas.microsoft.com/office/drawing/2014/main" id="{9AD6D3EE-EFAD-8552-9E10-8EC1F6BFF3B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5668583" y="3040491"/>
            <a:ext cx="982153" cy="1033846"/>
          </a:xfrm>
          <a:prstGeom prst="rect">
            <a:avLst/>
          </a:prstGeom>
        </p:spPr>
      </p:pic>
      <p:pic>
        <p:nvPicPr>
          <p:cNvPr id="52" name="Picture 6">
            <a:extLst>
              <a:ext uri="{FF2B5EF4-FFF2-40B4-BE49-F238E27FC236}">
                <a16:creationId xmlns:a16="http://schemas.microsoft.com/office/drawing/2014/main" id="{7DCAF3E5-00F5-03FF-E799-D1418002276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7912570" y="3171368"/>
            <a:ext cx="904884" cy="783856"/>
          </a:xfrm>
          <a:prstGeom prst="rect">
            <a:avLst/>
          </a:prstGeom>
        </p:spPr>
      </p:pic>
      <p:pic>
        <p:nvPicPr>
          <p:cNvPr id="53" name="Picture 7">
            <a:extLst>
              <a:ext uri="{FF2B5EF4-FFF2-40B4-BE49-F238E27FC236}">
                <a16:creationId xmlns:a16="http://schemas.microsoft.com/office/drawing/2014/main" id="{1B58CCF0-499F-5DD1-4BD5-0B9B4428596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p:blipFill>
        <p:spPr>
          <a:xfrm>
            <a:off x="10137400" y="3219710"/>
            <a:ext cx="773149" cy="773149"/>
          </a:xfrm>
          <a:prstGeom prst="rect">
            <a:avLst/>
          </a:prstGeom>
        </p:spPr>
      </p:pic>
      <p:pic>
        <p:nvPicPr>
          <p:cNvPr id="54" name="Picture 38">
            <a:extLst>
              <a:ext uri="{FF2B5EF4-FFF2-40B4-BE49-F238E27FC236}">
                <a16:creationId xmlns:a16="http://schemas.microsoft.com/office/drawing/2014/main" id="{92ECAB5F-B50D-12DF-91C0-0288AEF6D1E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237718" y="1"/>
            <a:ext cx="1153329" cy="461331"/>
          </a:xfrm>
          <a:prstGeom prst="rect">
            <a:avLst/>
          </a:prstGeom>
        </p:spPr>
      </p:pic>
      <p:pic>
        <p:nvPicPr>
          <p:cNvPr id="55" name="Picture 40">
            <a:extLst>
              <a:ext uri="{FF2B5EF4-FFF2-40B4-BE49-F238E27FC236}">
                <a16:creationId xmlns:a16="http://schemas.microsoft.com/office/drawing/2014/main" id="{DC3C1938-CD85-947E-40D2-13BF425DB0D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11479494" y="6548094"/>
            <a:ext cx="1153329" cy="461331"/>
          </a:xfrm>
          <a:prstGeom prst="rect">
            <a:avLst/>
          </a:prstGeom>
        </p:spPr>
      </p:pic>
      <p:pic>
        <p:nvPicPr>
          <p:cNvPr id="56" name="Picture 41">
            <a:extLst>
              <a:ext uri="{FF2B5EF4-FFF2-40B4-BE49-F238E27FC236}">
                <a16:creationId xmlns:a16="http://schemas.microsoft.com/office/drawing/2014/main" id="{C77DD506-0F61-D058-B65B-943AC69A0FFD}"/>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11615336" y="1"/>
            <a:ext cx="1153329" cy="461331"/>
          </a:xfrm>
          <a:prstGeom prst="rect">
            <a:avLst/>
          </a:prstGeom>
        </p:spPr>
      </p:pic>
      <p:pic>
        <p:nvPicPr>
          <p:cNvPr id="57" name="Picture 42">
            <a:extLst>
              <a:ext uri="{FF2B5EF4-FFF2-40B4-BE49-F238E27FC236}">
                <a16:creationId xmlns:a16="http://schemas.microsoft.com/office/drawing/2014/main" id="{CC57F689-BF68-C38B-A500-8E5E3C9449A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576664" y="6548094"/>
            <a:ext cx="1153329" cy="461331"/>
          </a:xfrm>
          <a:prstGeom prst="rect">
            <a:avLst/>
          </a:prstGeom>
        </p:spPr>
      </p:pic>
      <p:sp>
        <p:nvSpPr>
          <p:cNvPr id="58" name="TextBox 57">
            <a:extLst>
              <a:ext uri="{FF2B5EF4-FFF2-40B4-BE49-F238E27FC236}">
                <a16:creationId xmlns:a16="http://schemas.microsoft.com/office/drawing/2014/main" id="{B6328960-1ADF-9946-7FB3-D42205C3FB4C}"/>
              </a:ext>
            </a:extLst>
          </p:cNvPr>
          <p:cNvSpPr txBox="1"/>
          <p:nvPr/>
        </p:nvSpPr>
        <p:spPr>
          <a:xfrm>
            <a:off x="3109212" y="5931578"/>
            <a:ext cx="5512429" cy="523220"/>
          </a:xfrm>
          <a:prstGeom prst="rect">
            <a:avLst/>
          </a:prstGeom>
          <a:noFill/>
        </p:spPr>
        <p:txBody>
          <a:bodyPr wrap="square" rtlCol="0">
            <a:spAutoFit/>
          </a:bodyPr>
          <a:lstStyle/>
          <a:p>
            <a:r>
              <a:rPr lang="en-US" sz="2800" b="1" i="1" dirty="0">
                <a:solidFill>
                  <a:schemeClr val="accent5"/>
                </a:solidFill>
                <a:latin typeface="Calibri" panose="020F0502020204030204" pitchFamily="34" charset="0"/>
                <a:cs typeface="Calibri" panose="020F0502020204030204" pitchFamily="34" charset="0"/>
              </a:rPr>
              <a:t>How would you like to be involved?</a:t>
            </a:r>
            <a:endParaRPr lang="en-US" sz="2000" b="1" i="1" dirty="0">
              <a:solidFill>
                <a:schemeClr val="accent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74169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716631" y="702092"/>
            <a:ext cx="8758737" cy="5572433"/>
            <a:chOff x="0" y="0"/>
            <a:chExt cx="4444248" cy="2827493"/>
          </a:xfrm>
        </p:grpSpPr>
        <p:sp>
          <p:nvSpPr>
            <p:cNvPr id="3" name="Freeform 3"/>
            <p:cNvSpPr/>
            <p:nvPr/>
          </p:nvSpPr>
          <p:spPr>
            <a:xfrm>
              <a:off x="0" y="0"/>
              <a:ext cx="4444248" cy="2827493"/>
            </a:xfrm>
            <a:custGeom>
              <a:avLst/>
              <a:gdLst/>
              <a:ahLst/>
              <a:cxnLst/>
              <a:rect l="l" t="t" r="r" b="b"/>
              <a:pathLst>
                <a:path w="4444248" h="2827493">
                  <a:moveTo>
                    <a:pt x="4319788" y="2827493"/>
                  </a:moveTo>
                  <a:lnTo>
                    <a:pt x="124460" y="2827493"/>
                  </a:lnTo>
                  <a:cubicBezTo>
                    <a:pt x="55880" y="2827493"/>
                    <a:pt x="0" y="2771613"/>
                    <a:pt x="0" y="2703033"/>
                  </a:cubicBezTo>
                  <a:lnTo>
                    <a:pt x="0" y="124460"/>
                  </a:lnTo>
                  <a:cubicBezTo>
                    <a:pt x="0" y="55880"/>
                    <a:pt x="55880" y="0"/>
                    <a:pt x="124460" y="0"/>
                  </a:cubicBezTo>
                  <a:lnTo>
                    <a:pt x="4319788" y="0"/>
                  </a:lnTo>
                  <a:cubicBezTo>
                    <a:pt x="4388368" y="0"/>
                    <a:pt x="4444248" y="55880"/>
                    <a:pt x="4444248" y="124460"/>
                  </a:cubicBezTo>
                  <a:lnTo>
                    <a:pt x="4444248" y="2703034"/>
                  </a:lnTo>
                  <a:cubicBezTo>
                    <a:pt x="4444248" y="2771614"/>
                    <a:pt x="4388368" y="2827493"/>
                    <a:pt x="4319788" y="2827493"/>
                  </a:cubicBezTo>
                  <a:close/>
                </a:path>
              </a:pathLst>
            </a:custGeom>
            <a:solidFill>
              <a:srgbClr val="F5F3E5"/>
            </a:solidFill>
          </p:spPr>
        </p:sp>
      </p:grpSp>
      <p:grpSp>
        <p:nvGrpSpPr>
          <p:cNvPr id="4" name="Group 4"/>
          <p:cNvGrpSpPr/>
          <p:nvPr/>
        </p:nvGrpSpPr>
        <p:grpSpPr>
          <a:xfrm>
            <a:off x="2655430" y="2397876"/>
            <a:ext cx="7486097" cy="3159624"/>
            <a:chOff x="0" y="284207"/>
            <a:chExt cx="14972193" cy="6319249"/>
          </a:xfrm>
        </p:grpSpPr>
        <p:sp>
          <p:nvSpPr>
            <p:cNvPr id="5" name="TextBox 5"/>
            <p:cNvSpPr txBox="1"/>
            <p:nvPr/>
          </p:nvSpPr>
          <p:spPr>
            <a:xfrm>
              <a:off x="0" y="1881145"/>
              <a:ext cx="14972193" cy="738664"/>
            </a:xfrm>
            <a:prstGeom prst="rect">
              <a:avLst/>
            </a:prstGeom>
          </p:spPr>
          <p:txBody>
            <a:bodyPr wrap="square" lIns="0" tIns="0" rIns="0" bIns="0" rtlCol="0" anchor="t">
              <a:spAutoFit/>
            </a:bodyPr>
            <a:lstStyle/>
            <a:p>
              <a:r>
                <a:rPr lang="en-US" sz="2400" b="1" dirty="0">
                  <a:solidFill>
                    <a:srgbClr val="000000"/>
                  </a:solidFill>
                  <a:latin typeface="Calibri" panose="020F0502020204030204" pitchFamily="34" charset="0"/>
                  <a:cs typeface="Calibri" panose="020F0502020204030204" pitchFamily="34" charset="0"/>
                </a:rPr>
                <a:t>What would happen if you give your child the answers?</a:t>
              </a:r>
            </a:p>
          </p:txBody>
        </p:sp>
        <p:sp>
          <p:nvSpPr>
            <p:cNvPr id="6" name="TextBox 6"/>
            <p:cNvSpPr txBox="1"/>
            <p:nvPr/>
          </p:nvSpPr>
          <p:spPr>
            <a:xfrm>
              <a:off x="0" y="284207"/>
              <a:ext cx="13920525" cy="738664"/>
            </a:xfrm>
            <a:prstGeom prst="rect">
              <a:avLst/>
            </a:prstGeom>
          </p:spPr>
          <p:txBody>
            <a:bodyPr lIns="0" tIns="0" rIns="0" bIns="0" rtlCol="0" anchor="t">
              <a:spAutoFit/>
            </a:bodyPr>
            <a:lstStyle/>
            <a:p>
              <a:r>
                <a:rPr lang="en-US" sz="2400" b="1" dirty="0">
                  <a:solidFill>
                    <a:srgbClr val="000000"/>
                  </a:solidFill>
                  <a:latin typeface="Calibri" panose="020F0502020204030204" pitchFamily="34" charset="0"/>
                  <a:cs typeface="Calibri" panose="020F0502020204030204" pitchFamily="34" charset="0"/>
                </a:rPr>
                <a:t>What would you do if your child asks you questions?</a:t>
              </a:r>
            </a:p>
          </p:txBody>
        </p:sp>
        <p:sp>
          <p:nvSpPr>
            <p:cNvPr id="7" name="TextBox 7"/>
            <p:cNvSpPr txBox="1"/>
            <p:nvPr/>
          </p:nvSpPr>
          <p:spPr>
            <a:xfrm>
              <a:off x="0" y="3478083"/>
              <a:ext cx="13920525" cy="1405512"/>
            </a:xfrm>
            <a:prstGeom prst="rect">
              <a:avLst/>
            </a:prstGeom>
          </p:spPr>
          <p:txBody>
            <a:bodyPr lIns="0" tIns="0" rIns="0" bIns="0" rtlCol="0" anchor="t">
              <a:spAutoFit/>
            </a:bodyPr>
            <a:lstStyle/>
            <a:p>
              <a:r>
                <a:rPr lang="en-US" sz="2400" b="1" dirty="0">
                  <a:solidFill>
                    <a:srgbClr val="000000"/>
                  </a:solidFill>
                  <a:latin typeface="Calibri" panose="020F0502020204030204" pitchFamily="34" charset="0"/>
                  <a:cs typeface="Calibri" panose="020F0502020204030204" pitchFamily="34" charset="0"/>
                </a:rPr>
                <a:t>What would happen if you do the work for your child?</a:t>
              </a:r>
            </a:p>
            <a:p>
              <a:pPr>
                <a:lnSpc>
                  <a:spcPts val="2599"/>
                </a:lnSpc>
                <a:spcBef>
                  <a:spcPct val="0"/>
                </a:spcBef>
              </a:pPr>
              <a:endParaRPr lang="en-US" sz="2400" b="1" dirty="0">
                <a:solidFill>
                  <a:srgbClr val="000000"/>
                </a:solidFill>
                <a:latin typeface="Calibri" panose="020F0502020204030204" pitchFamily="34" charset="0"/>
                <a:cs typeface="Calibri" panose="020F0502020204030204" pitchFamily="34" charset="0"/>
              </a:endParaRPr>
            </a:p>
          </p:txBody>
        </p:sp>
        <p:sp>
          <p:nvSpPr>
            <p:cNvPr id="8" name="TextBox 8"/>
            <p:cNvSpPr txBox="1"/>
            <p:nvPr/>
          </p:nvSpPr>
          <p:spPr>
            <a:xfrm>
              <a:off x="0" y="5126128"/>
              <a:ext cx="13920525" cy="1477328"/>
            </a:xfrm>
            <a:prstGeom prst="rect">
              <a:avLst/>
            </a:prstGeom>
          </p:spPr>
          <p:txBody>
            <a:bodyPr lIns="0" tIns="0" rIns="0" bIns="0" rtlCol="0" anchor="t">
              <a:spAutoFit/>
            </a:bodyPr>
            <a:lstStyle/>
            <a:p>
              <a:r>
                <a:rPr lang="en-US" sz="2400" b="1" dirty="0">
                  <a:solidFill>
                    <a:srgbClr val="000000"/>
                  </a:solidFill>
                  <a:latin typeface="Calibri" panose="020F0502020204030204" pitchFamily="34" charset="0"/>
                  <a:cs typeface="Calibri" panose="020F0502020204030204" pitchFamily="34" charset="0"/>
                </a:rPr>
                <a:t>What would you do if you don’t have certain resources?</a:t>
              </a:r>
            </a:p>
          </p:txBody>
        </p:sp>
      </p:grpSp>
      <p:grpSp>
        <p:nvGrpSpPr>
          <p:cNvPr id="12" name="Group 12"/>
          <p:cNvGrpSpPr/>
          <p:nvPr/>
        </p:nvGrpSpPr>
        <p:grpSpPr>
          <a:xfrm>
            <a:off x="2194025" y="2449771"/>
            <a:ext cx="263260" cy="263260"/>
            <a:chOff x="0" y="0"/>
            <a:chExt cx="6350000" cy="6350000"/>
          </a:xfrm>
        </p:grpSpPr>
        <p:sp>
          <p:nvSpPr>
            <p:cNvPr id="13" name="Freeform 13"/>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B923"/>
            </a:solidFill>
          </p:spPr>
        </p:sp>
      </p:grpSp>
      <p:grpSp>
        <p:nvGrpSpPr>
          <p:cNvPr id="14" name="Group 14"/>
          <p:cNvGrpSpPr/>
          <p:nvPr/>
        </p:nvGrpSpPr>
        <p:grpSpPr>
          <a:xfrm>
            <a:off x="2194025" y="3238374"/>
            <a:ext cx="263260" cy="263260"/>
            <a:chOff x="0" y="0"/>
            <a:chExt cx="6350000" cy="6350000"/>
          </a:xfrm>
        </p:grpSpPr>
        <p:sp>
          <p:nvSpPr>
            <p:cNvPr id="15" name="Freeform 15"/>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B923"/>
            </a:solidFill>
          </p:spPr>
        </p:sp>
      </p:grpSp>
      <p:grpSp>
        <p:nvGrpSpPr>
          <p:cNvPr id="16" name="Group 16"/>
          <p:cNvGrpSpPr/>
          <p:nvPr/>
        </p:nvGrpSpPr>
        <p:grpSpPr>
          <a:xfrm>
            <a:off x="2194025" y="4055123"/>
            <a:ext cx="263260" cy="263260"/>
            <a:chOff x="0" y="0"/>
            <a:chExt cx="6350000" cy="6350000"/>
          </a:xfrm>
        </p:grpSpPr>
        <p:sp>
          <p:nvSpPr>
            <p:cNvPr id="17" name="Freeform 17"/>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B923"/>
            </a:solidFill>
          </p:spPr>
        </p:sp>
      </p:grpSp>
      <p:grpSp>
        <p:nvGrpSpPr>
          <p:cNvPr id="18" name="Group 18"/>
          <p:cNvGrpSpPr/>
          <p:nvPr/>
        </p:nvGrpSpPr>
        <p:grpSpPr>
          <a:xfrm>
            <a:off x="2194025" y="4871872"/>
            <a:ext cx="263260" cy="263260"/>
            <a:chOff x="0" y="0"/>
            <a:chExt cx="6350000" cy="6350000"/>
          </a:xfrm>
        </p:grpSpPr>
        <p:sp>
          <p:nvSpPr>
            <p:cNvPr id="19" name="Freeform 19"/>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B923"/>
            </a:solidFill>
          </p:spPr>
        </p:sp>
      </p:grpSp>
      <p:sp>
        <p:nvSpPr>
          <p:cNvPr id="20" name="TextBox 20"/>
          <p:cNvSpPr txBox="1"/>
          <p:nvPr/>
        </p:nvSpPr>
        <p:spPr>
          <a:xfrm>
            <a:off x="2194025" y="999921"/>
            <a:ext cx="6142081" cy="897682"/>
          </a:xfrm>
          <a:prstGeom prst="rect">
            <a:avLst/>
          </a:prstGeom>
        </p:spPr>
        <p:txBody>
          <a:bodyPr lIns="0" tIns="0" rIns="0" bIns="0" rtlCol="0" anchor="t">
            <a:spAutoFit/>
          </a:bodyPr>
          <a:lstStyle/>
          <a:p>
            <a:pPr>
              <a:lnSpc>
                <a:spcPts val="7040"/>
              </a:lnSpc>
              <a:spcBef>
                <a:spcPct val="0"/>
              </a:spcBef>
            </a:pPr>
            <a:r>
              <a:rPr lang="en-US" sz="5866" b="1" dirty="0">
                <a:solidFill>
                  <a:srgbClr val="000000"/>
                </a:solidFill>
                <a:latin typeface="Calibri" panose="020F0502020204030204" pitchFamily="34" charset="0"/>
                <a:cs typeface="Calibri" panose="020F0502020204030204" pitchFamily="34" charset="0"/>
              </a:rPr>
              <a:t>What if…</a:t>
            </a:r>
          </a:p>
        </p:txBody>
      </p:sp>
      <p:pic>
        <p:nvPicPr>
          <p:cNvPr id="9" name="Picture 38">
            <a:extLst>
              <a:ext uri="{FF2B5EF4-FFF2-40B4-BE49-F238E27FC236}">
                <a16:creationId xmlns:a16="http://schemas.microsoft.com/office/drawing/2014/main" id="{987109AC-D6AA-A780-2E24-B0B15118BD0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237718" y="1"/>
            <a:ext cx="1153329" cy="461331"/>
          </a:xfrm>
          <a:prstGeom prst="rect">
            <a:avLst/>
          </a:prstGeom>
        </p:spPr>
      </p:pic>
      <p:pic>
        <p:nvPicPr>
          <p:cNvPr id="10" name="Picture 40">
            <a:extLst>
              <a:ext uri="{FF2B5EF4-FFF2-40B4-BE49-F238E27FC236}">
                <a16:creationId xmlns:a16="http://schemas.microsoft.com/office/drawing/2014/main" id="{F759FE9D-7673-DFCD-587F-F225AE53026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11479494" y="6548094"/>
            <a:ext cx="1153329" cy="461331"/>
          </a:xfrm>
          <a:prstGeom prst="rect">
            <a:avLst/>
          </a:prstGeom>
        </p:spPr>
      </p:pic>
      <p:pic>
        <p:nvPicPr>
          <p:cNvPr id="11" name="Picture 41">
            <a:extLst>
              <a:ext uri="{FF2B5EF4-FFF2-40B4-BE49-F238E27FC236}">
                <a16:creationId xmlns:a16="http://schemas.microsoft.com/office/drawing/2014/main" id="{EC52A661-0F1D-025A-B067-7C0DB5ACB38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11615336" y="1"/>
            <a:ext cx="1153329" cy="461331"/>
          </a:xfrm>
          <a:prstGeom prst="rect">
            <a:avLst/>
          </a:prstGeom>
        </p:spPr>
      </p:pic>
      <p:pic>
        <p:nvPicPr>
          <p:cNvPr id="21" name="Picture 42">
            <a:extLst>
              <a:ext uri="{FF2B5EF4-FFF2-40B4-BE49-F238E27FC236}">
                <a16:creationId xmlns:a16="http://schemas.microsoft.com/office/drawing/2014/main" id="{82E9BE68-54A4-2259-91BF-26973D103FF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576664" y="6548094"/>
            <a:ext cx="1153329" cy="461331"/>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89E9FD1-B97A-4FD7-F80B-022E4C298227}"/>
              </a:ext>
            </a:extLst>
          </p:cNvPr>
          <p:cNvSpPr txBox="1"/>
          <p:nvPr/>
        </p:nvSpPr>
        <p:spPr>
          <a:xfrm>
            <a:off x="1067643" y="1432740"/>
            <a:ext cx="10056714" cy="4247317"/>
          </a:xfrm>
          <a:custGeom>
            <a:avLst/>
            <a:gdLst>
              <a:gd name="csX0" fmla="*/ 0 w 10056714"/>
              <a:gd name="csY0" fmla="*/ 0 h 4247317"/>
              <a:gd name="csX1" fmla="*/ 10056714 w 10056714"/>
              <a:gd name="csY1" fmla="*/ 0 h 4247317"/>
              <a:gd name="csX2" fmla="*/ 10056714 w 10056714"/>
              <a:gd name="csY2" fmla="*/ 4247317 h 4247317"/>
              <a:gd name="csX3" fmla="*/ 0 w 10056714"/>
              <a:gd name="csY3" fmla="*/ 4247317 h 4247317"/>
              <a:gd name="csX4" fmla="*/ 0 w 10056714"/>
              <a:gd name="csY4" fmla="*/ 0 h 4247317"/>
            </a:gdLst>
            <a:ahLst/>
            <a:cxnLst>
              <a:cxn ang="0">
                <a:pos x="csX0" y="csY0"/>
              </a:cxn>
              <a:cxn ang="0">
                <a:pos x="csX1" y="csY1"/>
              </a:cxn>
              <a:cxn ang="0">
                <a:pos x="csX2" y="csY2"/>
              </a:cxn>
              <a:cxn ang="0">
                <a:pos x="csX3" y="csY3"/>
              </a:cxn>
              <a:cxn ang="0">
                <a:pos x="csX4" y="csY4"/>
              </a:cxn>
            </a:cxnLst>
            <a:rect l="l" t="t" r="r" b="b"/>
            <a:pathLst>
              <a:path w="10056714" h="4247317" extrusionOk="0">
                <a:moveTo>
                  <a:pt x="0" y="0"/>
                </a:moveTo>
                <a:cubicBezTo>
                  <a:pt x="3150954" y="118645"/>
                  <a:pt x="7571562" y="116012"/>
                  <a:pt x="10056714" y="0"/>
                </a:cubicBezTo>
                <a:cubicBezTo>
                  <a:pt x="9923832" y="1680520"/>
                  <a:pt x="10141665" y="2207226"/>
                  <a:pt x="10056714" y="4247317"/>
                </a:cubicBezTo>
                <a:cubicBezTo>
                  <a:pt x="8351445" y="4381917"/>
                  <a:pt x="1192740" y="4090121"/>
                  <a:pt x="0" y="4247317"/>
                </a:cubicBezTo>
                <a:cubicBezTo>
                  <a:pt x="-20187" y="3733575"/>
                  <a:pt x="-152480" y="1797474"/>
                  <a:pt x="0" y="0"/>
                </a:cubicBezTo>
                <a:close/>
              </a:path>
            </a:pathLst>
          </a:custGeom>
          <a:noFill/>
          <a:ln>
            <a:solidFill>
              <a:schemeClr val="accent1"/>
            </a:solidFill>
            <a:extLst>
              <a:ext uri="{C807C97D-BFC1-408E-A445-0C87EB9F89A2}">
                <ask:lineSketchStyleProps xmlns:ask="http://schemas.microsoft.com/office/drawing/2018/sketchyshapes" sd="1219033472">
                  <a:prstGeom prst="rect">
                    <a:avLst/>
                  </a:prstGeom>
                  <ask:type>
                    <ask:lineSketchCurved/>
                  </ask:type>
                </ask:lineSketchStyleProps>
              </a:ext>
            </a:extLst>
          </a:ln>
        </p:spPr>
        <p:txBody>
          <a:bodyPr wrap="square">
            <a:spAutoFit/>
          </a:bodyPr>
          <a:lstStyle/>
          <a:p>
            <a:pPr marL="285750" indent="-285750">
              <a:buFontTx/>
              <a:buChar char="-"/>
            </a:pPr>
            <a:r>
              <a:rPr lang="en-QA" dirty="0">
                <a:latin typeface="Calibri" panose="020F0502020204030204" pitchFamily="34" charset="0"/>
                <a:cs typeface="Calibri" panose="020F0502020204030204" pitchFamily="34" charset="0"/>
              </a:rPr>
              <a:t>Give PBL a chance. </a:t>
            </a:r>
          </a:p>
          <a:p>
            <a:endParaRPr lang="en-QA" dirty="0">
              <a:latin typeface="Calibri" panose="020F0502020204030204" pitchFamily="34" charset="0"/>
              <a:cs typeface="Calibri" panose="020F0502020204030204" pitchFamily="34" charset="0"/>
            </a:endParaRPr>
          </a:p>
          <a:p>
            <a:pPr marL="285750" indent="-285750">
              <a:buFontTx/>
              <a:buChar char="-"/>
            </a:pPr>
            <a:r>
              <a:rPr lang="en-QA" dirty="0">
                <a:latin typeface="Calibri" panose="020F0502020204030204" pitchFamily="34" charset="0"/>
                <a:cs typeface="Calibri" panose="020F0502020204030204" pitchFamily="34" charset="0"/>
              </a:rPr>
              <a:t>You might be tempted as a parent to try to solve problems that arise for your child while they are working on their project. Remember to step back and ask open ended questions to allow your kids to express their experiences.</a:t>
            </a:r>
          </a:p>
          <a:p>
            <a:pPr marL="285750" indent="-285750">
              <a:buFontTx/>
              <a:buChar char="-"/>
            </a:pPr>
            <a:endParaRPr lang="en-QA" dirty="0">
              <a:latin typeface="Calibri" panose="020F0502020204030204" pitchFamily="34" charset="0"/>
              <a:cs typeface="Calibri" panose="020F0502020204030204" pitchFamily="34" charset="0"/>
            </a:endParaRPr>
          </a:p>
          <a:p>
            <a:pPr marL="285750" indent="-285750">
              <a:buFontTx/>
              <a:buChar char="-"/>
            </a:pPr>
            <a:r>
              <a:rPr lang="en-US" dirty="0">
                <a:latin typeface="Calibri" panose="020F0502020204030204" pitchFamily="34" charset="0"/>
                <a:cs typeface="Calibri" panose="020F0502020204030204" pitchFamily="34" charset="0"/>
              </a:rPr>
              <a:t>Asking open ended and targeted questions is a great way to assess what the child has learned so far through the project. For example, you can ask them what they learned from doing a specific activity, or you can ask them to answer a specific question related to the project such as “do you think we would be able to make shadows in an unlit room?”</a:t>
            </a:r>
            <a:endParaRPr lang="en-QA" dirty="0">
              <a:latin typeface="Calibri" panose="020F0502020204030204" pitchFamily="34" charset="0"/>
              <a:cs typeface="Calibri" panose="020F0502020204030204" pitchFamily="34" charset="0"/>
            </a:endParaRPr>
          </a:p>
          <a:p>
            <a:endParaRPr lang="en-QA" dirty="0">
              <a:latin typeface="Calibri" panose="020F0502020204030204" pitchFamily="34" charset="0"/>
              <a:cs typeface="Calibri" panose="020F0502020204030204" pitchFamily="34" charset="0"/>
            </a:endParaRPr>
          </a:p>
          <a:p>
            <a:pPr marL="285750" indent="-285750">
              <a:buFontTx/>
              <a:buChar char="-"/>
            </a:pPr>
            <a:r>
              <a:rPr lang="en-QA" dirty="0">
                <a:latin typeface="Calibri" panose="020F0502020204030204" pitchFamily="34" charset="0"/>
                <a:cs typeface="Calibri" panose="020F0502020204030204" pitchFamily="34" charset="0"/>
              </a:rPr>
              <a:t>You can always do </a:t>
            </a:r>
            <a:r>
              <a:rPr lang="en-QA" b="1" dirty="0">
                <a:latin typeface="Calibri" panose="020F0502020204030204" pitchFamily="34" charset="0"/>
                <a:cs typeface="Calibri" panose="020F0502020204030204" pitchFamily="34" charset="0"/>
              </a:rPr>
              <a:t>informal learning </a:t>
            </a:r>
            <a:r>
              <a:rPr lang="en-QA" dirty="0">
                <a:latin typeface="Calibri" panose="020F0502020204030204" pitchFamily="34" charset="0"/>
                <a:cs typeface="Calibri" panose="020F0502020204030204" pitchFamily="34" charset="0"/>
              </a:rPr>
              <a:t>with your child (using any available resources). For example, you could attend a local community event together and discuss something new your child noticed or learned. Remember that you can play a role in building student inquiry by being a model of a learner yourself.</a:t>
            </a:r>
          </a:p>
        </p:txBody>
      </p:sp>
      <p:sp>
        <p:nvSpPr>
          <p:cNvPr id="5" name="TextBox 4">
            <a:extLst>
              <a:ext uri="{FF2B5EF4-FFF2-40B4-BE49-F238E27FC236}">
                <a16:creationId xmlns:a16="http://schemas.microsoft.com/office/drawing/2014/main" id="{2B57182A-B63F-A3D7-CCE0-FE368C9B8E6F}"/>
              </a:ext>
            </a:extLst>
          </p:cNvPr>
          <p:cNvSpPr txBox="1"/>
          <p:nvPr/>
        </p:nvSpPr>
        <p:spPr>
          <a:xfrm>
            <a:off x="2784470" y="345981"/>
            <a:ext cx="6096000" cy="781752"/>
          </a:xfrm>
          <a:prstGeom prst="rect">
            <a:avLst/>
          </a:prstGeom>
          <a:noFill/>
        </p:spPr>
        <p:txBody>
          <a:bodyPr wrap="square">
            <a:spAutoFit/>
          </a:bodyPr>
          <a:lstStyle/>
          <a:p>
            <a:pPr algn="ctr" defTabSz="457200">
              <a:lnSpc>
                <a:spcPct val="120000"/>
              </a:lnSpc>
              <a:defRPr/>
            </a:pPr>
            <a:r>
              <a:rPr lang="en-GB" sz="4000" b="1" dirty="0">
                <a:solidFill>
                  <a:schemeClr val="accent5"/>
                </a:solidFill>
                <a:latin typeface="Calibri" panose="020F0502020204030204" pitchFamily="34" charset="0"/>
                <a:cs typeface="Calibri" panose="020F0502020204030204" pitchFamily="34" charset="0"/>
              </a:rPr>
              <a:t>Remember</a:t>
            </a:r>
          </a:p>
        </p:txBody>
      </p:sp>
      <p:grpSp>
        <p:nvGrpSpPr>
          <p:cNvPr id="8" name="Group 2">
            <a:extLst>
              <a:ext uri="{FF2B5EF4-FFF2-40B4-BE49-F238E27FC236}">
                <a16:creationId xmlns:a16="http://schemas.microsoft.com/office/drawing/2014/main" id="{5AF05644-618B-A7C4-C424-8D62DFDE594D}"/>
              </a:ext>
            </a:extLst>
          </p:cNvPr>
          <p:cNvGrpSpPr/>
          <p:nvPr/>
        </p:nvGrpSpPr>
        <p:grpSpPr>
          <a:xfrm>
            <a:off x="0" y="0"/>
            <a:ext cx="450526" cy="10287000"/>
            <a:chOff x="0" y="0"/>
            <a:chExt cx="152400" cy="3479800"/>
          </a:xfrm>
        </p:grpSpPr>
        <p:sp>
          <p:nvSpPr>
            <p:cNvPr id="9" name="Freeform 3">
              <a:extLst>
                <a:ext uri="{FF2B5EF4-FFF2-40B4-BE49-F238E27FC236}">
                  <a16:creationId xmlns:a16="http://schemas.microsoft.com/office/drawing/2014/main" id="{DE33EBD8-106C-BD63-6543-A73B865E2BD3}"/>
                </a:ext>
              </a:extLst>
            </p:cNvPr>
            <p:cNvSpPr/>
            <p:nvPr/>
          </p:nvSpPr>
          <p:spPr>
            <a:xfrm>
              <a:off x="0" y="0"/>
              <a:ext cx="152400" cy="3479800"/>
            </a:xfrm>
            <a:custGeom>
              <a:avLst/>
              <a:gdLst/>
              <a:ahLst/>
              <a:cxnLst/>
              <a:rect l="l" t="t" r="r" b="b"/>
              <a:pathLst>
                <a:path w="152400" h="3479800">
                  <a:moveTo>
                    <a:pt x="0" y="0"/>
                  </a:moveTo>
                  <a:lnTo>
                    <a:pt x="152400" y="0"/>
                  </a:lnTo>
                  <a:lnTo>
                    <a:pt x="152400" y="3479800"/>
                  </a:lnTo>
                  <a:lnTo>
                    <a:pt x="0" y="3479800"/>
                  </a:lnTo>
                  <a:close/>
                </a:path>
              </a:pathLst>
            </a:custGeom>
            <a:solidFill>
              <a:srgbClr val="D3A29D"/>
            </a:solidFill>
          </p:spPr>
        </p:sp>
      </p:grpSp>
      <p:grpSp>
        <p:nvGrpSpPr>
          <p:cNvPr id="10" name="Group 4">
            <a:extLst>
              <a:ext uri="{FF2B5EF4-FFF2-40B4-BE49-F238E27FC236}">
                <a16:creationId xmlns:a16="http://schemas.microsoft.com/office/drawing/2014/main" id="{C7686AE8-312C-432A-2992-CFBE27B9CA89}"/>
              </a:ext>
            </a:extLst>
          </p:cNvPr>
          <p:cNvGrpSpPr/>
          <p:nvPr/>
        </p:nvGrpSpPr>
        <p:grpSpPr>
          <a:xfrm>
            <a:off x="8136977" y="5395748"/>
            <a:ext cx="8838896" cy="8838896"/>
            <a:chOff x="0" y="0"/>
            <a:chExt cx="6350000" cy="6350000"/>
          </a:xfrm>
        </p:grpSpPr>
        <p:sp>
          <p:nvSpPr>
            <p:cNvPr id="11" name="Freeform 5">
              <a:extLst>
                <a:ext uri="{FF2B5EF4-FFF2-40B4-BE49-F238E27FC236}">
                  <a16:creationId xmlns:a16="http://schemas.microsoft.com/office/drawing/2014/main" id="{A57912A5-72BD-2244-E952-DFAD7E767564}"/>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BDD1C5"/>
            </a:solidFill>
          </p:spPr>
        </p:sp>
      </p:grpSp>
      <p:grpSp>
        <p:nvGrpSpPr>
          <p:cNvPr id="12" name="Group 8">
            <a:extLst>
              <a:ext uri="{FF2B5EF4-FFF2-40B4-BE49-F238E27FC236}">
                <a16:creationId xmlns:a16="http://schemas.microsoft.com/office/drawing/2014/main" id="{C53DC364-F358-28F6-375E-3AF1A4D87419}"/>
              </a:ext>
            </a:extLst>
          </p:cNvPr>
          <p:cNvGrpSpPr/>
          <p:nvPr/>
        </p:nvGrpSpPr>
        <p:grpSpPr>
          <a:xfrm>
            <a:off x="10829067" y="3694898"/>
            <a:ext cx="2393169" cy="2393169"/>
            <a:chOff x="0" y="0"/>
            <a:chExt cx="6350000" cy="6350000"/>
          </a:xfrm>
        </p:grpSpPr>
        <p:sp>
          <p:nvSpPr>
            <p:cNvPr id="13" name="Freeform 9">
              <a:extLst>
                <a:ext uri="{FF2B5EF4-FFF2-40B4-BE49-F238E27FC236}">
                  <a16:creationId xmlns:a16="http://schemas.microsoft.com/office/drawing/2014/main" id="{DF41FE5A-613E-9B5D-67D8-E1D8728E0D0B}"/>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EECC8C"/>
            </a:solidFill>
          </p:spPr>
        </p:sp>
      </p:grpSp>
    </p:spTree>
    <p:extLst>
      <p:ext uri="{BB962C8B-B14F-4D97-AF65-F5344CB8AC3E}">
        <p14:creationId xmlns:p14="http://schemas.microsoft.com/office/powerpoint/2010/main" val="2662855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7F99F0E1-122E-4ABE-A912-1305515935BD}"/>
              </a:ext>
            </a:extLst>
          </p:cNvPr>
          <p:cNvSpPr txBox="1">
            <a:spLocks/>
          </p:cNvSpPr>
          <p:nvPr/>
        </p:nvSpPr>
        <p:spPr>
          <a:xfrm>
            <a:off x="2776012" y="160591"/>
            <a:ext cx="9334480" cy="2946541"/>
          </a:xfrm>
          <a:custGeom>
            <a:avLst/>
            <a:gdLst>
              <a:gd name="csX0" fmla="*/ 0 w 9334480"/>
              <a:gd name="csY0" fmla="*/ 0 h 2946541"/>
              <a:gd name="csX1" fmla="*/ 583405 w 9334480"/>
              <a:gd name="csY1" fmla="*/ 0 h 2946541"/>
              <a:gd name="csX2" fmla="*/ 1353500 w 9334480"/>
              <a:gd name="csY2" fmla="*/ 0 h 2946541"/>
              <a:gd name="csX3" fmla="*/ 1843560 w 9334480"/>
              <a:gd name="csY3" fmla="*/ 0 h 2946541"/>
              <a:gd name="csX4" fmla="*/ 2333620 w 9334480"/>
              <a:gd name="csY4" fmla="*/ 0 h 2946541"/>
              <a:gd name="csX5" fmla="*/ 2917025 w 9334480"/>
              <a:gd name="csY5" fmla="*/ 0 h 2946541"/>
              <a:gd name="csX6" fmla="*/ 3593775 w 9334480"/>
              <a:gd name="csY6" fmla="*/ 0 h 2946541"/>
              <a:gd name="csX7" fmla="*/ 4270525 w 9334480"/>
              <a:gd name="csY7" fmla="*/ 0 h 2946541"/>
              <a:gd name="csX8" fmla="*/ 4947274 w 9334480"/>
              <a:gd name="csY8" fmla="*/ 0 h 2946541"/>
              <a:gd name="csX9" fmla="*/ 5717369 w 9334480"/>
              <a:gd name="csY9" fmla="*/ 0 h 2946541"/>
              <a:gd name="csX10" fmla="*/ 6300774 w 9334480"/>
              <a:gd name="csY10" fmla="*/ 0 h 2946541"/>
              <a:gd name="csX11" fmla="*/ 6977524 w 9334480"/>
              <a:gd name="csY11" fmla="*/ 0 h 2946541"/>
              <a:gd name="csX12" fmla="*/ 7560929 w 9334480"/>
              <a:gd name="csY12" fmla="*/ 0 h 2946541"/>
              <a:gd name="csX13" fmla="*/ 8144334 w 9334480"/>
              <a:gd name="csY13" fmla="*/ 0 h 2946541"/>
              <a:gd name="csX14" fmla="*/ 8727739 w 9334480"/>
              <a:gd name="csY14" fmla="*/ 0 h 2946541"/>
              <a:gd name="csX15" fmla="*/ 9334480 w 9334480"/>
              <a:gd name="csY15" fmla="*/ 0 h 2946541"/>
              <a:gd name="csX16" fmla="*/ 9334480 w 9334480"/>
              <a:gd name="csY16" fmla="*/ 618774 h 2946541"/>
              <a:gd name="csX17" fmla="*/ 9334480 w 9334480"/>
              <a:gd name="csY17" fmla="*/ 1149151 h 2946541"/>
              <a:gd name="csX18" fmla="*/ 9334480 w 9334480"/>
              <a:gd name="csY18" fmla="*/ 1767925 h 2946541"/>
              <a:gd name="csX19" fmla="*/ 9334480 w 9334480"/>
              <a:gd name="csY19" fmla="*/ 2327767 h 2946541"/>
              <a:gd name="csX20" fmla="*/ 9334480 w 9334480"/>
              <a:gd name="csY20" fmla="*/ 2946541 h 2946541"/>
              <a:gd name="csX21" fmla="*/ 9031109 w 9334480"/>
              <a:gd name="csY21" fmla="*/ 2946541 h 2946541"/>
              <a:gd name="csX22" fmla="*/ 8541049 w 9334480"/>
              <a:gd name="csY22" fmla="*/ 2946541 h 2946541"/>
              <a:gd name="csX23" fmla="*/ 7864299 w 9334480"/>
              <a:gd name="csY23" fmla="*/ 2946541 h 2946541"/>
              <a:gd name="csX24" fmla="*/ 7467584 w 9334480"/>
              <a:gd name="csY24" fmla="*/ 2946541 h 2946541"/>
              <a:gd name="csX25" fmla="*/ 6697489 w 9334480"/>
              <a:gd name="csY25" fmla="*/ 2946541 h 2946541"/>
              <a:gd name="csX26" fmla="*/ 5927395 w 9334480"/>
              <a:gd name="csY26" fmla="*/ 2946541 h 2946541"/>
              <a:gd name="csX27" fmla="*/ 5343990 w 9334480"/>
              <a:gd name="csY27" fmla="*/ 2946541 h 2946541"/>
              <a:gd name="csX28" fmla="*/ 4573895 w 9334480"/>
              <a:gd name="csY28" fmla="*/ 2946541 h 2946541"/>
              <a:gd name="csX29" fmla="*/ 3990490 w 9334480"/>
              <a:gd name="csY29" fmla="*/ 2946541 h 2946541"/>
              <a:gd name="csX30" fmla="*/ 3313740 w 9334480"/>
              <a:gd name="csY30" fmla="*/ 2946541 h 2946541"/>
              <a:gd name="csX31" fmla="*/ 3010370 w 9334480"/>
              <a:gd name="csY31" fmla="*/ 2946541 h 2946541"/>
              <a:gd name="csX32" fmla="*/ 2240275 w 9334480"/>
              <a:gd name="csY32" fmla="*/ 2946541 h 2946541"/>
              <a:gd name="csX33" fmla="*/ 1750215 w 9334480"/>
              <a:gd name="csY33" fmla="*/ 2946541 h 2946541"/>
              <a:gd name="csX34" fmla="*/ 1073465 w 9334480"/>
              <a:gd name="csY34" fmla="*/ 2946541 h 2946541"/>
              <a:gd name="csX35" fmla="*/ 770095 w 9334480"/>
              <a:gd name="csY35" fmla="*/ 2946541 h 2946541"/>
              <a:gd name="csX36" fmla="*/ 0 w 9334480"/>
              <a:gd name="csY36" fmla="*/ 2946541 h 2946541"/>
              <a:gd name="csX37" fmla="*/ 0 w 9334480"/>
              <a:gd name="csY37" fmla="*/ 2386698 h 2946541"/>
              <a:gd name="csX38" fmla="*/ 0 w 9334480"/>
              <a:gd name="csY38" fmla="*/ 1856321 h 2946541"/>
              <a:gd name="csX39" fmla="*/ 0 w 9334480"/>
              <a:gd name="csY39" fmla="*/ 1355409 h 2946541"/>
              <a:gd name="csX40" fmla="*/ 0 w 9334480"/>
              <a:gd name="csY40" fmla="*/ 707170 h 2946541"/>
              <a:gd name="csX41" fmla="*/ 0 w 9334480"/>
              <a:gd name="csY41" fmla="*/ 0 h 29465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Lst>
            <a:rect l="l" t="t" r="r" b="b"/>
            <a:pathLst>
              <a:path w="9334480" h="2946541" fill="none" extrusionOk="0">
                <a:moveTo>
                  <a:pt x="0" y="0"/>
                </a:moveTo>
                <a:cubicBezTo>
                  <a:pt x="123451" y="-8688"/>
                  <a:pt x="372862" y="19209"/>
                  <a:pt x="583405" y="0"/>
                </a:cubicBezTo>
                <a:cubicBezTo>
                  <a:pt x="793948" y="-19209"/>
                  <a:pt x="1044271" y="34957"/>
                  <a:pt x="1353500" y="0"/>
                </a:cubicBezTo>
                <a:cubicBezTo>
                  <a:pt x="1662729" y="-34957"/>
                  <a:pt x="1693447" y="1842"/>
                  <a:pt x="1843560" y="0"/>
                </a:cubicBezTo>
                <a:cubicBezTo>
                  <a:pt x="1993673" y="-1842"/>
                  <a:pt x="2233978" y="38969"/>
                  <a:pt x="2333620" y="0"/>
                </a:cubicBezTo>
                <a:cubicBezTo>
                  <a:pt x="2433262" y="-38969"/>
                  <a:pt x="2771698" y="35021"/>
                  <a:pt x="2917025" y="0"/>
                </a:cubicBezTo>
                <a:cubicBezTo>
                  <a:pt x="3062352" y="-35021"/>
                  <a:pt x="3449281" y="22115"/>
                  <a:pt x="3593775" y="0"/>
                </a:cubicBezTo>
                <a:cubicBezTo>
                  <a:pt x="3738269" y="-22115"/>
                  <a:pt x="3959049" y="59253"/>
                  <a:pt x="4270525" y="0"/>
                </a:cubicBezTo>
                <a:cubicBezTo>
                  <a:pt x="4582001" y="-59253"/>
                  <a:pt x="4790573" y="65945"/>
                  <a:pt x="4947274" y="0"/>
                </a:cubicBezTo>
                <a:cubicBezTo>
                  <a:pt x="5103975" y="-65945"/>
                  <a:pt x="5505212" y="25047"/>
                  <a:pt x="5717369" y="0"/>
                </a:cubicBezTo>
                <a:cubicBezTo>
                  <a:pt x="5929527" y="-25047"/>
                  <a:pt x="6165298" y="53818"/>
                  <a:pt x="6300774" y="0"/>
                </a:cubicBezTo>
                <a:cubicBezTo>
                  <a:pt x="6436250" y="-53818"/>
                  <a:pt x="6741312" y="39693"/>
                  <a:pt x="6977524" y="0"/>
                </a:cubicBezTo>
                <a:cubicBezTo>
                  <a:pt x="7213736" y="-39693"/>
                  <a:pt x="7377336" y="43111"/>
                  <a:pt x="7560929" y="0"/>
                </a:cubicBezTo>
                <a:cubicBezTo>
                  <a:pt x="7744522" y="-43111"/>
                  <a:pt x="7875585" y="2704"/>
                  <a:pt x="8144334" y="0"/>
                </a:cubicBezTo>
                <a:cubicBezTo>
                  <a:pt x="8413083" y="-2704"/>
                  <a:pt x="8514272" y="34756"/>
                  <a:pt x="8727739" y="0"/>
                </a:cubicBezTo>
                <a:cubicBezTo>
                  <a:pt x="8941207" y="-34756"/>
                  <a:pt x="9134445" y="8535"/>
                  <a:pt x="9334480" y="0"/>
                </a:cubicBezTo>
                <a:cubicBezTo>
                  <a:pt x="9367709" y="290637"/>
                  <a:pt x="9317317" y="486233"/>
                  <a:pt x="9334480" y="618774"/>
                </a:cubicBezTo>
                <a:cubicBezTo>
                  <a:pt x="9351643" y="751315"/>
                  <a:pt x="9317005" y="980196"/>
                  <a:pt x="9334480" y="1149151"/>
                </a:cubicBezTo>
                <a:cubicBezTo>
                  <a:pt x="9351955" y="1318106"/>
                  <a:pt x="9320378" y="1641220"/>
                  <a:pt x="9334480" y="1767925"/>
                </a:cubicBezTo>
                <a:cubicBezTo>
                  <a:pt x="9348582" y="1894630"/>
                  <a:pt x="9282849" y="2101255"/>
                  <a:pt x="9334480" y="2327767"/>
                </a:cubicBezTo>
                <a:cubicBezTo>
                  <a:pt x="9386111" y="2554279"/>
                  <a:pt x="9318599" y="2772144"/>
                  <a:pt x="9334480" y="2946541"/>
                </a:cubicBezTo>
                <a:cubicBezTo>
                  <a:pt x="9253761" y="2980836"/>
                  <a:pt x="9157037" y="2942990"/>
                  <a:pt x="9031109" y="2946541"/>
                </a:cubicBezTo>
                <a:cubicBezTo>
                  <a:pt x="8905181" y="2950092"/>
                  <a:pt x="8704881" y="2940366"/>
                  <a:pt x="8541049" y="2946541"/>
                </a:cubicBezTo>
                <a:cubicBezTo>
                  <a:pt x="8377217" y="2952716"/>
                  <a:pt x="8024765" y="2904891"/>
                  <a:pt x="7864299" y="2946541"/>
                </a:cubicBezTo>
                <a:cubicBezTo>
                  <a:pt x="7703833" y="2988191"/>
                  <a:pt x="7585904" y="2926005"/>
                  <a:pt x="7467584" y="2946541"/>
                </a:cubicBezTo>
                <a:cubicBezTo>
                  <a:pt x="7349264" y="2967077"/>
                  <a:pt x="6872972" y="2869485"/>
                  <a:pt x="6697489" y="2946541"/>
                </a:cubicBezTo>
                <a:cubicBezTo>
                  <a:pt x="6522007" y="3023597"/>
                  <a:pt x="6162611" y="2854367"/>
                  <a:pt x="5927395" y="2946541"/>
                </a:cubicBezTo>
                <a:cubicBezTo>
                  <a:pt x="5692179" y="3038715"/>
                  <a:pt x="5465307" y="2932586"/>
                  <a:pt x="5343990" y="2946541"/>
                </a:cubicBezTo>
                <a:cubicBezTo>
                  <a:pt x="5222673" y="2960496"/>
                  <a:pt x="4888457" y="2870604"/>
                  <a:pt x="4573895" y="2946541"/>
                </a:cubicBezTo>
                <a:cubicBezTo>
                  <a:pt x="4259334" y="3022478"/>
                  <a:pt x="4117627" y="2904050"/>
                  <a:pt x="3990490" y="2946541"/>
                </a:cubicBezTo>
                <a:cubicBezTo>
                  <a:pt x="3863353" y="2989032"/>
                  <a:pt x="3514697" y="2913882"/>
                  <a:pt x="3313740" y="2946541"/>
                </a:cubicBezTo>
                <a:cubicBezTo>
                  <a:pt x="3112783" y="2979200"/>
                  <a:pt x="3123170" y="2918036"/>
                  <a:pt x="3010370" y="2946541"/>
                </a:cubicBezTo>
                <a:cubicBezTo>
                  <a:pt x="2897570" y="2975046"/>
                  <a:pt x="2426218" y="2861279"/>
                  <a:pt x="2240275" y="2946541"/>
                </a:cubicBezTo>
                <a:cubicBezTo>
                  <a:pt x="2054332" y="3031803"/>
                  <a:pt x="1961430" y="2907667"/>
                  <a:pt x="1750215" y="2946541"/>
                </a:cubicBezTo>
                <a:cubicBezTo>
                  <a:pt x="1539000" y="2985415"/>
                  <a:pt x="1259957" y="2939405"/>
                  <a:pt x="1073465" y="2946541"/>
                </a:cubicBezTo>
                <a:cubicBezTo>
                  <a:pt x="886973" y="2953677"/>
                  <a:pt x="868878" y="2946398"/>
                  <a:pt x="770095" y="2946541"/>
                </a:cubicBezTo>
                <a:cubicBezTo>
                  <a:pt x="671312" y="2946684"/>
                  <a:pt x="373700" y="2898255"/>
                  <a:pt x="0" y="2946541"/>
                </a:cubicBezTo>
                <a:cubicBezTo>
                  <a:pt x="-36325" y="2817032"/>
                  <a:pt x="59945" y="2585605"/>
                  <a:pt x="0" y="2386698"/>
                </a:cubicBezTo>
                <a:cubicBezTo>
                  <a:pt x="-59945" y="2187791"/>
                  <a:pt x="57965" y="2087579"/>
                  <a:pt x="0" y="1856321"/>
                </a:cubicBezTo>
                <a:cubicBezTo>
                  <a:pt x="-57965" y="1625063"/>
                  <a:pt x="23651" y="1593665"/>
                  <a:pt x="0" y="1355409"/>
                </a:cubicBezTo>
                <a:cubicBezTo>
                  <a:pt x="-23651" y="1117153"/>
                  <a:pt x="61818" y="923008"/>
                  <a:pt x="0" y="707170"/>
                </a:cubicBezTo>
                <a:cubicBezTo>
                  <a:pt x="-61818" y="491332"/>
                  <a:pt x="19156" y="146943"/>
                  <a:pt x="0" y="0"/>
                </a:cubicBezTo>
                <a:close/>
              </a:path>
              <a:path w="9334480" h="2946541" stroke="0" extrusionOk="0">
                <a:moveTo>
                  <a:pt x="0" y="0"/>
                </a:moveTo>
                <a:cubicBezTo>
                  <a:pt x="243423" y="-14279"/>
                  <a:pt x="352909" y="25794"/>
                  <a:pt x="490060" y="0"/>
                </a:cubicBezTo>
                <a:cubicBezTo>
                  <a:pt x="627211" y="-25794"/>
                  <a:pt x="693710" y="1431"/>
                  <a:pt x="793431" y="0"/>
                </a:cubicBezTo>
                <a:cubicBezTo>
                  <a:pt x="893152" y="-1431"/>
                  <a:pt x="1325428" y="47228"/>
                  <a:pt x="1563525" y="0"/>
                </a:cubicBezTo>
                <a:cubicBezTo>
                  <a:pt x="1801622" y="-47228"/>
                  <a:pt x="1848092" y="45688"/>
                  <a:pt x="2053586" y="0"/>
                </a:cubicBezTo>
                <a:cubicBezTo>
                  <a:pt x="2259080" y="-45688"/>
                  <a:pt x="2335143" y="11718"/>
                  <a:pt x="2543646" y="0"/>
                </a:cubicBezTo>
                <a:cubicBezTo>
                  <a:pt x="2752149" y="-11718"/>
                  <a:pt x="3120345" y="58252"/>
                  <a:pt x="3313740" y="0"/>
                </a:cubicBezTo>
                <a:cubicBezTo>
                  <a:pt x="3507135" y="-58252"/>
                  <a:pt x="3536482" y="41310"/>
                  <a:pt x="3710456" y="0"/>
                </a:cubicBezTo>
                <a:cubicBezTo>
                  <a:pt x="3884430" y="-41310"/>
                  <a:pt x="4204846" y="36485"/>
                  <a:pt x="4480550" y="0"/>
                </a:cubicBezTo>
                <a:cubicBezTo>
                  <a:pt x="4756254" y="-36485"/>
                  <a:pt x="4929170" y="25050"/>
                  <a:pt x="5250645" y="0"/>
                </a:cubicBezTo>
                <a:cubicBezTo>
                  <a:pt x="5572121" y="-25050"/>
                  <a:pt x="5713425" y="46198"/>
                  <a:pt x="5834050" y="0"/>
                </a:cubicBezTo>
                <a:cubicBezTo>
                  <a:pt x="5954675" y="-46198"/>
                  <a:pt x="6231949" y="48374"/>
                  <a:pt x="6604145" y="0"/>
                </a:cubicBezTo>
                <a:cubicBezTo>
                  <a:pt x="6976341" y="-48374"/>
                  <a:pt x="6873499" y="13942"/>
                  <a:pt x="7094205" y="0"/>
                </a:cubicBezTo>
                <a:cubicBezTo>
                  <a:pt x="7314911" y="-13942"/>
                  <a:pt x="7342374" y="42829"/>
                  <a:pt x="7584265" y="0"/>
                </a:cubicBezTo>
                <a:cubicBezTo>
                  <a:pt x="7826156" y="-42829"/>
                  <a:pt x="8043593" y="15915"/>
                  <a:pt x="8261015" y="0"/>
                </a:cubicBezTo>
                <a:cubicBezTo>
                  <a:pt x="8478437" y="-15915"/>
                  <a:pt x="8603650" y="52568"/>
                  <a:pt x="8751075" y="0"/>
                </a:cubicBezTo>
                <a:cubicBezTo>
                  <a:pt x="8898500" y="-52568"/>
                  <a:pt x="9196740" y="2750"/>
                  <a:pt x="9334480" y="0"/>
                </a:cubicBezTo>
                <a:cubicBezTo>
                  <a:pt x="9409148" y="235213"/>
                  <a:pt x="9318126" y="479687"/>
                  <a:pt x="9334480" y="648239"/>
                </a:cubicBezTo>
                <a:cubicBezTo>
                  <a:pt x="9350834" y="816791"/>
                  <a:pt x="9334372" y="998426"/>
                  <a:pt x="9334480" y="1267013"/>
                </a:cubicBezTo>
                <a:cubicBezTo>
                  <a:pt x="9334588" y="1535600"/>
                  <a:pt x="9320131" y="1584885"/>
                  <a:pt x="9334480" y="1885786"/>
                </a:cubicBezTo>
                <a:cubicBezTo>
                  <a:pt x="9348829" y="2186687"/>
                  <a:pt x="9292523" y="2234937"/>
                  <a:pt x="9334480" y="2386698"/>
                </a:cubicBezTo>
                <a:cubicBezTo>
                  <a:pt x="9376437" y="2538459"/>
                  <a:pt x="9303742" y="2815300"/>
                  <a:pt x="9334480" y="2946541"/>
                </a:cubicBezTo>
                <a:cubicBezTo>
                  <a:pt x="9005368" y="2991394"/>
                  <a:pt x="8927393" y="2945324"/>
                  <a:pt x="8657730" y="2946541"/>
                </a:cubicBezTo>
                <a:cubicBezTo>
                  <a:pt x="8388067" y="2947758"/>
                  <a:pt x="8348868" y="2899960"/>
                  <a:pt x="8261015" y="2946541"/>
                </a:cubicBezTo>
                <a:cubicBezTo>
                  <a:pt x="8173163" y="2993122"/>
                  <a:pt x="7849981" y="2877988"/>
                  <a:pt x="7677610" y="2946541"/>
                </a:cubicBezTo>
                <a:cubicBezTo>
                  <a:pt x="7505239" y="3015094"/>
                  <a:pt x="7476771" y="2941405"/>
                  <a:pt x="7374239" y="2946541"/>
                </a:cubicBezTo>
                <a:cubicBezTo>
                  <a:pt x="7271707" y="2951677"/>
                  <a:pt x="7135869" y="2915509"/>
                  <a:pt x="7070869" y="2946541"/>
                </a:cubicBezTo>
                <a:cubicBezTo>
                  <a:pt x="7005869" y="2977573"/>
                  <a:pt x="6686032" y="2907616"/>
                  <a:pt x="6487464" y="2946541"/>
                </a:cubicBezTo>
                <a:cubicBezTo>
                  <a:pt x="6288896" y="2985466"/>
                  <a:pt x="6287403" y="2908135"/>
                  <a:pt x="6090748" y="2946541"/>
                </a:cubicBezTo>
                <a:cubicBezTo>
                  <a:pt x="5894093" y="2984947"/>
                  <a:pt x="5652939" y="2916578"/>
                  <a:pt x="5413998" y="2946541"/>
                </a:cubicBezTo>
                <a:cubicBezTo>
                  <a:pt x="5175057" y="2976504"/>
                  <a:pt x="5142587" y="2932177"/>
                  <a:pt x="5017283" y="2946541"/>
                </a:cubicBezTo>
                <a:cubicBezTo>
                  <a:pt x="4891979" y="2960905"/>
                  <a:pt x="4582669" y="2920765"/>
                  <a:pt x="4340533" y="2946541"/>
                </a:cubicBezTo>
                <a:cubicBezTo>
                  <a:pt x="4098397" y="2972317"/>
                  <a:pt x="4164923" y="2936257"/>
                  <a:pt x="4037163" y="2946541"/>
                </a:cubicBezTo>
                <a:cubicBezTo>
                  <a:pt x="3909403" y="2956825"/>
                  <a:pt x="3679282" y="2870502"/>
                  <a:pt x="3360413" y="2946541"/>
                </a:cubicBezTo>
                <a:cubicBezTo>
                  <a:pt x="3041544" y="3022580"/>
                  <a:pt x="3114427" y="2918636"/>
                  <a:pt x="2963697" y="2946541"/>
                </a:cubicBezTo>
                <a:cubicBezTo>
                  <a:pt x="2812967" y="2974446"/>
                  <a:pt x="2747431" y="2946127"/>
                  <a:pt x="2660327" y="2946541"/>
                </a:cubicBezTo>
                <a:cubicBezTo>
                  <a:pt x="2573223" y="2946955"/>
                  <a:pt x="2415672" y="2910218"/>
                  <a:pt x="2263611" y="2946541"/>
                </a:cubicBezTo>
                <a:cubicBezTo>
                  <a:pt x="2111550" y="2982864"/>
                  <a:pt x="1917399" y="2871323"/>
                  <a:pt x="1586862" y="2946541"/>
                </a:cubicBezTo>
                <a:cubicBezTo>
                  <a:pt x="1256325" y="3021759"/>
                  <a:pt x="1300351" y="2922274"/>
                  <a:pt x="1190146" y="2946541"/>
                </a:cubicBezTo>
                <a:cubicBezTo>
                  <a:pt x="1079941" y="2970808"/>
                  <a:pt x="1001780" y="2942622"/>
                  <a:pt x="886776" y="2946541"/>
                </a:cubicBezTo>
                <a:cubicBezTo>
                  <a:pt x="771772" y="2950460"/>
                  <a:pt x="319613" y="2860281"/>
                  <a:pt x="0" y="2946541"/>
                </a:cubicBezTo>
                <a:cubicBezTo>
                  <a:pt x="-44362" y="2818775"/>
                  <a:pt x="20538" y="2545300"/>
                  <a:pt x="0" y="2386698"/>
                </a:cubicBezTo>
                <a:cubicBezTo>
                  <a:pt x="-20538" y="2228096"/>
                  <a:pt x="45219" y="2120311"/>
                  <a:pt x="0" y="1885786"/>
                </a:cubicBezTo>
                <a:cubicBezTo>
                  <a:pt x="-45219" y="1651261"/>
                  <a:pt x="27800" y="1496138"/>
                  <a:pt x="0" y="1296478"/>
                </a:cubicBezTo>
                <a:cubicBezTo>
                  <a:pt x="-27800" y="1096818"/>
                  <a:pt x="17267" y="939140"/>
                  <a:pt x="0" y="766101"/>
                </a:cubicBezTo>
                <a:cubicBezTo>
                  <a:pt x="-17267" y="593062"/>
                  <a:pt x="79411" y="295323"/>
                  <a:pt x="0" y="0"/>
                </a:cubicBezTo>
                <a:close/>
              </a:path>
            </a:pathLst>
          </a:custGeom>
          <a:ln>
            <a:solidFill>
              <a:schemeClr val="accent1"/>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sz="2400" b="1" u="sng" dirty="0"/>
              <a:t>Engaged parents</a:t>
            </a:r>
          </a:p>
          <a:p>
            <a:pPr lvl="0" defTabSz="457200">
              <a:lnSpc>
                <a:spcPct val="100000"/>
              </a:lnSpc>
              <a:buFont typeface="Wingdings" pitchFamily="2" charset="2"/>
              <a:buChar char="§"/>
            </a:pPr>
            <a:r>
              <a:rPr lang="en-US" sz="1600" dirty="0">
                <a:solidFill>
                  <a:prstClr val="black"/>
                </a:solidFill>
              </a:rPr>
              <a:t>It is important to precisely explain what is expected from parents to support their kids in this program. </a:t>
            </a:r>
          </a:p>
          <a:p>
            <a:pPr lvl="0" defTabSz="457200">
              <a:lnSpc>
                <a:spcPct val="100000"/>
              </a:lnSpc>
              <a:buFont typeface="Wingdings" pitchFamily="2" charset="2"/>
              <a:buChar char="§"/>
            </a:pPr>
            <a:r>
              <a:rPr lang="en-US" sz="1600" dirty="0">
                <a:solidFill>
                  <a:prstClr val="black"/>
                </a:solidFill>
              </a:rPr>
              <a:t>Try to simplify their role as much as you can. Keep in mind, parents have other jobs and responsibilities, and they might not be able to be there for their kids all the time.  This does not make them bad parents.  </a:t>
            </a:r>
          </a:p>
          <a:p>
            <a:pPr lvl="0" defTabSz="457200">
              <a:lnSpc>
                <a:spcPct val="100000"/>
              </a:lnSpc>
              <a:buFont typeface="Wingdings" pitchFamily="2" charset="2"/>
              <a:buChar char="§"/>
            </a:pPr>
            <a:r>
              <a:rPr lang="en-US" sz="1600" dirty="0">
                <a:solidFill>
                  <a:prstClr val="black"/>
                </a:solidFill>
              </a:rPr>
              <a:t>These expectations need to be explained very clearly. Once you clarify parents’ role in the project, you need to investigate how realistic your expectations are.  You can ask them “is this easy or will you need extra support for this item/task?” If your expectations are too much on them, then you will need to try to further simplify their role and/or involvement. </a:t>
            </a: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p:txBody>
      </p:sp>
      <p:pic>
        <p:nvPicPr>
          <p:cNvPr id="11" name="Graphic 10" descr="Boardroom with solid fill">
            <a:extLst>
              <a:ext uri="{FF2B5EF4-FFF2-40B4-BE49-F238E27FC236}">
                <a16:creationId xmlns:a16="http://schemas.microsoft.com/office/drawing/2014/main" id="{559AB91B-7BBB-4F64-862A-567921265B7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970016" y="41346"/>
            <a:ext cx="946471" cy="946471"/>
          </a:xfrm>
          <a:prstGeom prst="rect">
            <a:avLst/>
          </a:prstGeom>
        </p:spPr>
      </p:pic>
      <p:sp>
        <p:nvSpPr>
          <p:cNvPr id="2" name="Content Placeholder 2">
            <a:extLst>
              <a:ext uri="{FF2B5EF4-FFF2-40B4-BE49-F238E27FC236}">
                <a16:creationId xmlns:a16="http://schemas.microsoft.com/office/drawing/2014/main" id="{28781C38-2D5C-EBA4-5DDE-44258F6C8EB3}"/>
              </a:ext>
            </a:extLst>
          </p:cNvPr>
          <p:cNvSpPr txBox="1">
            <a:spLocks/>
          </p:cNvSpPr>
          <p:nvPr/>
        </p:nvSpPr>
        <p:spPr>
          <a:xfrm>
            <a:off x="2744480" y="3255612"/>
            <a:ext cx="9334480" cy="3441797"/>
          </a:xfrm>
          <a:custGeom>
            <a:avLst/>
            <a:gdLst>
              <a:gd name="csX0" fmla="*/ 0 w 9334480"/>
              <a:gd name="csY0" fmla="*/ 0 h 3441797"/>
              <a:gd name="csX1" fmla="*/ 676750 w 9334480"/>
              <a:gd name="csY1" fmla="*/ 0 h 3441797"/>
              <a:gd name="csX2" fmla="*/ 1353500 w 9334480"/>
              <a:gd name="csY2" fmla="*/ 0 h 3441797"/>
              <a:gd name="csX3" fmla="*/ 1656870 w 9334480"/>
              <a:gd name="csY3" fmla="*/ 0 h 3441797"/>
              <a:gd name="csX4" fmla="*/ 2333620 w 9334480"/>
              <a:gd name="csY4" fmla="*/ 0 h 3441797"/>
              <a:gd name="csX5" fmla="*/ 2823680 w 9334480"/>
              <a:gd name="csY5" fmla="*/ 0 h 3441797"/>
              <a:gd name="csX6" fmla="*/ 3313740 w 9334480"/>
              <a:gd name="csY6" fmla="*/ 0 h 3441797"/>
              <a:gd name="csX7" fmla="*/ 3897145 w 9334480"/>
              <a:gd name="csY7" fmla="*/ 0 h 3441797"/>
              <a:gd name="csX8" fmla="*/ 4480550 w 9334480"/>
              <a:gd name="csY8" fmla="*/ 0 h 3441797"/>
              <a:gd name="csX9" fmla="*/ 5250645 w 9334480"/>
              <a:gd name="csY9" fmla="*/ 0 h 3441797"/>
              <a:gd name="csX10" fmla="*/ 5740705 w 9334480"/>
              <a:gd name="csY10" fmla="*/ 0 h 3441797"/>
              <a:gd name="csX11" fmla="*/ 6044076 w 9334480"/>
              <a:gd name="csY11" fmla="*/ 0 h 3441797"/>
              <a:gd name="csX12" fmla="*/ 6627481 w 9334480"/>
              <a:gd name="csY12" fmla="*/ 0 h 3441797"/>
              <a:gd name="csX13" fmla="*/ 7397575 w 9334480"/>
              <a:gd name="csY13" fmla="*/ 0 h 3441797"/>
              <a:gd name="csX14" fmla="*/ 7700946 w 9334480"/>
              <a:gd name="csY14" fmla="*/ 0 h 3441797"/>
              <a:gd name="csX15" fmla="*/ 8471041 w 9334480"/>
              <a:gd name="csY15" fmla="*/ 0 h 3441797"/>
              <a:gd name="csX16" fmla="*/ 9334480 w 9334480"/>
              <a:gd name="csY16" fmla="*/ 0 h 3441797"/>
              <a:gd name="csX17" fmla="*/ 9334480 w 9334480"/>
              <a:gd name="csY17" fmla="*/ 470379 h 3441797"/>
              <a:gd name="csX18" fmla="*/ 9334480 w 9334480"/>
              <a:gd name="csY18" fmla="*/ 1112848 h 3441797"/>
              <a:gd name="csX19" fmla="*/ 9334480 w 9334480"/>
              <a:gd name="csY19" fmla="*/ 1686481 h 3441797"/>
              <a:gd name="csX20" fmla="*/ 9334480 w 9334480"/>
              <a:gd name="csY20" fmla="*/ 2328949 h 3441797"/>
              <a:gd name="csX21" fmla="*/ 9334480 w 9334480"/>
              <a:gd name="csY21" fmla="*/ 2799328 h 3441797"/>
              <a:gd name="csX22" fmla="*/ 9334480 w 9334480"/>
              <a:gd name="csY22" fmla="*/ 3441797 h 3441797"/>
              <a:gd name="csX23" fmla="*/ 8844420 w 9334480"/>
              <a:gd name="csY23" fmla="*/ 3441797 h 3441797"/>
              <a:gd name="csX24" fmla="*/ 8354360 w 9334480"/>
              <a:gd name="csY24" fmla="*/ 3441797 h 3441797"/>
              <a:gd name="csX25" fmla="*/ 7677610 w 9334480"/>
              <a:gd name="csY25" fmla="*/ 3441797 h 3441797"/>
              <a:gd name="csX26" fmla="*/ 7374239 w 9334480"/>
              <a:gd name="csY26" fmla="*/ 3441797 h 3441797"/>
              <a:gd name="csX27" fmla="*/ 6604145 w 9334480"/>
              <a:gd name="csY27" fmla="*/ 3441797 h 3441797"/>
              <a:gd name="csX28" fmla="*/ 5927395 w 9334480"/>
              <a:gd name="csY28" fmla="*/ 3441797 h 3441797"/>
              <a:gd name="csX29" fmla="*/ 5624024 w 9334480"/>
              <a:gd name="csY29" fmla="*/ 3441797 h 3441797"/>
              <a:gd name="csX30" fmla="*/ 5227309 w 9334480"/>
              <a:gd name="csY30" fmla="*/ 3441797 h 3441797"/>
              <a:gd name="csX31" fmla="*/ 4737249 w 9334480"/>
              <a:gd name="csY31" fmla="*/ 3441797 h 3441797"/>
              <a:gd name="csX32" fmla="*/ 4060499 w 9334480"/>
              <a:gd name="csY32" fmla="*/ 3441797 h 3441797"/>
              <a:gd name="csX33" fmla="*/ 3663783 w 9334480"/>
              <a:gd name="csY33" fmla="*/ 3441797 h 3441797"/>
              <a:gd name="csX34" fmla="*/ 3360413 w 9334480"/>
              <a:gd name="csY34" fmla="*/ 3441797 h 3441797"/>
              <a:gd name="csX35" fmla="*/ 2683663 w 9334480"/>
              <a:gd name="csY35" fmla="*/ 3441797 h 3441797"/>
              <a:gd name="csX36" fmla="*/ 2380292 w 9334480"/>
              <a:gd name="csY36" fmla="*/ 3441797 h 3441797"/>
              <a:gd name="csX37" fmla="*/ 1890232 w 9334480"/>
              <a:gd name="csY37" fmla="*/ 3441797 h 3441797"/>
              <a:gd name="csX38" fmla="*/ 1120138 w 9334480"/>
              <a:gd name="csY38" fmla="*/ 3441797 h 3441797"/>
              <a:gd name="csX39" fmla="*/ 723422 w 9334480"/>
              <a:gd name="csY39" fmla="*/ 3441797 h 3441797"/>
              <a:gd name="csX40" fmla="*/ 0 w 9334480"/>
              <a:gd name="csY40" fmla="*/ 3441797 h 3441797"/>
              <a:gd name="csX41" fmla="*/ 0 w 9334480"/>
              <a:gd name="csY41" fmla="*/ 2868164 h 3441797"/>
              <a:gd name="csX42" fmla="*/ 0 w 9334480"/>
              <a:gd name="csY42" fmla="*/ 2328949 h 3441797"/>
              <a:gd name="csX43" fmla="*/ 0 w 9334480"/>
              <a:gd name="csY43" fmla="*/ 1755316 h 3441797"/>
              <a:gd name="csX44" fmla="*/ 0 w 9334480"/>
              <a:gd name="csY44" fmla="*/ 1284938 h 3441797"/>
              <a:gd name="csX45" fmla="*/ 0 w 9334480"/>
              <a:gd name="csY45" fmla="*/ 711305 h 3441797"/>
              <a:gd name="csX46" fmla="*/ 0 w 9334480"/>
              <a:gd name="csY46" fmla="*/ 0 h 34417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9334480" h="3441797" fill="none" extrusionOk="0">
                <a:moveTo>
                  <a:pt x="0" y="0"/>
                </a:moveTo>
                <a:cubicBezTo>
                  <a:pt x="221201" y="-49794"/>
                  <a:pt x="482556" y="44432"/>
                  <a:pt x="676750" y="0"/>
                </a:cubicBezTo>
                <a:cubicBezTo>
                  <a:pt x="870944" y="-44432"/>
                  <a:pt x="1023118" y="36233"/>
                  <a:pt x="1353500" y="0"/>
                </a:cubicBezTo>
                <a:cubicBezTo>
                  <a:pt x="1683882" y="-36233"/>
                  <a:pt x="1595948" y="15816"/>
                  <a:pt x="1656870" y="0"/>
                </a:cubicBezTo>
                <a:cubicBezTo>
                  <a:pt x="1717792" y="-15816"/>
                  <a:pt x="2027567" y="53718"/>
                  <a:pt x="2333620" y="0"/>
                </a:cubicBezTo>
                <a:cubicBezTo>
                  <a:pt x="2639673" y="-53718"/>
                  <a:pt x="2627307" y="162"/>
                  <a:pt x="2823680" y="0"/>
                </a:cubicBezTo>
                <a:cubicBezTo>
                  <a:pt x="3020053" y="-162"/>
                  <a:pt x="3206417" y="17089"/>
                  <a:pt x="3313740" y="0"/>
                </a:cubicBezTo>
                <a:cubicBezTo>
                  <a:pt x="3421063" y="-17089"/>
                  <a:pt x="3662832" y="51297"/>
                  <a:pt x="3897145" y="0"/>
                </a:cubicBezTo>
                <a:cubicBezTo>
                  <a:pt x="4131458" y="-51297"/>
                  <a:pt x="4227923" y="62021"/>
                  <a:pt x="4480550" y="0"/>
                </a:cubicBezTo>
                <a:cubicBezTo>
                  <a:pt x="4733178" y="-62021"/>
                  <a:pt x="4978234" y="90560"/>
                  <a:pt x="5250645" y="0"/>
                </a:cubicBezTo>
                <a:cubicBezTo>
                  <a:pt x="5523056" y="-90560"/>
                  <a:pt x="5586221" y="36128"/>
                  <a:pt x="5740705" y="0"/>
                </a:cubicBezTo>
                <a:cubicBezTo>
                  <a:pt x="5895189" y="-36128"/>
                  <a:pt x="5919114" y="35657"/>
                  <a:pt x="6044076" y="0"/>
                </a:cubicBezTo>
                <a:cubicBezTo>
                  <a:pt x="6169038" y="-35657"/>
                  <a:pt x="6390089" y="61193"/>
                  <a:pt x="6627481" y="0"/>
                </a:cubicBezTo>
                <a:cubicBezTo>
                  <a:pt x="6864873" y="-61193"/>
                  <a:pt x="7210366" y="1192"/>
                  <a:pt x="7397575" y="0"/>
                </a:cubicBezTo>
                <a:cubicBezTo>
                  <a:pt x="7584784" y="-1192"/>
                  <a:pt x="7558030" y="32436"/>
                  <a:pt x="7700946" y="0"/>
                </a:cubicBezTo>
                <a:cubicBezTo>
                  <a:pt x="7843862" y="-32436"/>
                  <a:pt x="8181037" y="29109"/>
                  <a:pt x="8471041" y="0"/>
                </a:cubicBezTo>
                <a:cubicBezTo>
                  <a:pt x="8761045" y="-29109"/>
                  <a:pt x="8910275" y="52712"/>
                  <a:pt x="9334480" y="0"/>
                </a:cubicBezTo>
                <a:cubicBezTo>
                  <a:pt x="9360752" y="164829"/>
                  <a:pt x="9320123" y="310726"/>
                  <a:pt x="9334480" y="470379"/>
                </a:cubicBezTo>
                <a:cubicBezTo>
                  <a:pt x="9348837" y="630032"/>
                  <a:pt x="9311779" y="880955"/>
                  <a:pt x="9334480" y="1112848"/>
                </a:cubicBezTo>
                <a:cubicBezTo>
                  <a:pt x="9357181" y="1344741"/>
                  <a:pt x="9313927" y="1467363"/>
                  <a:pt x="9334480" y="1686481"/>
                </a:cubicBezTo>
                <a:cubicBezTo>
                  <a:pt x="9355033" y="1905599"/>
                  <a:pt x="9271359" y="2022678"/>
                  <a:pt x="9334480" y="2328949"/>
                </a:cubicBezTo>
                <a:cubicBezTo>
                  <a:pt x="9397601" y="2635220"/>
                  <a:pt x="9316745" y="2639743"/>
                  <a:pt x="9334480" y="2799328"/>
                </a:cubicBezTo>
                <a:cubicBezTo>
                  <a:pt x="9352215" y="2958913"/>
                  <a:pt x="9262718" y="3269080"/>
                  <a:pt x="9334480" y="3441797"/>
                </a:cubicBezTo>
                <a:cubicBezTo>
                  <a:pt x="9179037" y="3471210"/>
                  <a:pt x="9048011" y="3435486"/>
                  <a:pt x="8844420" y="3441797"/>
                </a:cubicBezTo>
                <a:cubicBezTo>
                  <a:pt x="8640829" y="3448108"/>
                  <a:pt x="8467454" y="3433143"/>
                  <a:pt x="8354360" y="3441797"/>
                </a:cubicBezTo>
                <a:cubicBezTo>
                  <a:pt x="8241266" y="3450451"/>
                  <a:pt x="7896838" y="3422308"/>
                  <a:pt x="7677610" y="3441797"/>
                </a:cubicBezTo>
                <a:cubicBezTo>
                  <a:pt x="7458382" y="3461286"/>
                  <a:pt x="7470600" y="3421269"/>
                  <a:pt x="7374239" y="3441797"/>
                </a:cubicBezTo>
                <a:cubicBezTo>
                  <a:pt x="7277878" y="3462325"/>
                  <a:pt x="6958427" y="3373799"/>
                  <a:pt x="6604145" y="3441797"/>
                </a:cubicBezTo>
                <a:cubicBezTo>
                  <a:pt x="6249863" y="3509795"/>
                  <a:pt x="6192422" y="3426626"/>
                  <a:pt x="5927395" y="3441797"/>
                </a:cubicBezTo>
                <a:cubicBezTo>
                  <a:pt x="5662368" y="3456968"/>
                  <a:pt x="5720261" y="3422199"/>
                  <a:pt x="5624024" y="3441797"/>
                </a:cubicBezTo>
                <a:cubicBezTo>
                  <a:pt x="5527787" y="3461395"/>
                  <a:pt x="5386695" y="3405007"/>
                  <a:pt x="5227309" y="3441797"/>
                </a:cubicBezTo>
                <a:cubicBezTo>
                  <a:pt x="5067924" y="3478587"/>
                  <a:pt x="4905933" y="3393877"/>
                  <a:pt x="4737249" y="3441797"/>
                </a:cubicBezTo>
                <a:cubicBezTo>
                  <a:pt x="4568565" y="3489717"/>
                  <a:pt x="4209409" y="3367323"/>
                  <a:pt x="4060499" y="3441797"/>
                </a:cubicBezTo>
                <a:cubicBezTo>
                  <a:pt x="3911589" y="3516271"/>
                  <a:pt x="3811960" y="3424621"/>
                  <a:pt x="3663783" y="3441797"/>
                </a:cubicBezTo>
                <a:cubicBezTo>
                  <a:pt x="3515606" y="3458973"/>
                  <a:pt x="3500254" y="3439712"/>
                  <a:pt x="3360413" y="3441797"/>
                </a:cubicBezTo>
                <a:cubicBezTo>
                  <a:pt x="3220572" y="3443882"/>
                  <a:pt x="3018237" y="3434641"/>
                  <a:pt x="2683663" y="3441797"/>
                </a:cubicBezTo>
                <a:cubicBezTo>
                  <a:pt x="2349089" y="3448953"/>
                  <a:pt x="2480888" y="3436163"/>
                  <a:pt x="2380292" y="3441797"/>
                </a:cubicBezTo>
                <a:cubicBezTo>
                  <a:pt x="2279696" y="3447431"/>
                  <a:pt x="2031780" y="3420388"/>
                  <a:pt x="1890232" y="3441797"/>
                </a:cubicBezTo>
                <a:cubicBezTo>
                  <a:pt x="1748684" y="3463206"/>
                  <a:pt x="1447476" y="3358349"/>
                  <a:pt x="1120138" y="3441797"/>
                </a:cubicBezTo>
                <a:cubicBezTo>
                  <a:pt x="792800" y="3525245"/>
                  <a:pt x="842289" y="3400758"/>
                  <a:pt x="723422" y="3441797"/>
                </a:cubicBezTo>
                <a:cubicBezTo>
                  <a:pt x="604555" y="3482836"/>
                  <a:pt x="254689" y="3383502"/>
                  <a:pt x="0" y="3441797"/>
                </a:cubicBezTo>
                <a:cubicBezTo>
                  <a:pt x="-46587" y="3260134"/>
                  <a:pt x="30664" y="3056658"/>
                  <a:pt x="0" y="2868164"/>
                </a:cubicBezTo>
                <a:cubicBezTo>
                  <a:pt x="-30664" y="2679670"/>
                  <a:pt x="58231" y="2469285"/>
                  <a:pt x="0" y="2328949"/>
                </a:cubicBezTo>
                <a:cubicBezTo>
                  <a:pt x="-58231" y="2188613"/>
                  <a:pt x="1972" y="1905996"/>
                  <a:pt x="0" y="1755316"/>
                </a:cubicBezTo>
                <a:cubicBezTo>
                  <a:pt x="-1972" y="1604636"/>
                  <a:pt x="687" y="1476397"/>
                  <a:pt x="0" y="1284938"/>
                </a:cubicBezTo>
                <a:cubicBezTo>
                  <a:pt x="-687" y="1093479"/>
                  <a:pt x="42960" y="894683"/>
                  <a:pt x="0" y="711305"/>
                </a:cubicBezTo>
                <a:cubicBezTo>
                  <a:pt x="-42960" y="527927"/>
                  <a:pt x="30227" y="349597"/>
                  <a:pt x="0" y="0"/>
                </a:cubicBezTo>
                <a:close/>
              </a:path>
              <a:path w="9334480" h="3441797" stroke="0" extrusionOk="0">
                <a:moveTo>
                  <a:pt x="0" y="0"/>
                </a:moveTo>
                <a:cubicBezTo>
                  <a:pt x="202668" y="-42144"/>
                  <a:pt x="349023" y="8778"/>
                  <a:pt x="583405" y="0"/>
                </a:cubicBezTo>
                <a:cubicBezTo>
                  <a:pt x="817787" y="-8778"/>
                  <a:pt x="974708" y="58497"/>
                  <a:pt x="1260155" y="0"/>
                </a:cubicBezTo>
                <a:cubicBezTo>
                  <a:pt x="1545602" y="-58497"/>
                  <a:pt x="1803944" y="42383"/>
                  <a:pt x="2030249" y="0"/>
                </a:cubicBezTo>
                <a:cubicBezTo>
                  <a:pt x="2256554" y="-42383"/>
                  <a:pt x="2199114" y="10096"/>
                  <a:pt x="2333620" y="0"/>
                </a:cubicBezTo>
                <a:cubicBezTo>
                  <a:pt x="2468126" y="-10096"/>
                  <a:pt x="2531971" y="7332"/>
                  <a:pt x="2636991" y="0"/>
                </a:cubicBezTo>
                <a:cubicBezTo>
                  <a:pt x="2742011" y="-7332"/>
                  <a:pt x="3069684" y="29445"/>
                  <a:pt x="3313740" y="0"/>
                </a:cubicBezTo>
                <a:cubicBezTo>
                  <a:pt x="3557796" y="-29445"/>
                  <a:pt x="3477941" y="29802"/>
                  <a:pt x="3617111" y="0"/>
                </a:cubicBezTo>
                <a:cubicBezTo>
                  <a:pt x="3756281" y="-29802"/>
                  <a:pt x="4022160" y="12229"/>
                  <a:pt x="4387206" y="0"/>
                </a:cubicBezTo>
                <a:cubicBezTo>
                  <a:pt x="4752253" y="-12229"/>
                  <a:pt x="4684744" y="15438"/>
                  <a:pt x="4783921" y="0"/>
                </a:cubicBezTo>
                <a:cubicBezTo>
                  <a:pt x="4883098" y="-15438"/>
                  <a:pt x="5172234" y="29698"/>
                  <a:pt x="5554016" y="0"/>
                </a:cubicBezTo>
                <a:cubicBezTo>
                  <a:pt x="5935798" y="-29698"/>
                  <a:pt x="5818353" y="35343"/>
                  <a:pt x="5950731" y="0"/>
                </a:cubicBezTo>
                <a:cubicBezTo>
                  <a:pt x="6083110" y="-35343"/>
                  <a:pt x="6167883" y="1727"/>
                  <a:pt x="6347446" y="0"/>
                </a:cubicBezTo>
                <a:cubicBezTo>
                  <a:pt x="6527009" y="-1727"/>
                  <a:pt x="6550545" y="37722"/>
                  <a:pt x="6744162" y="0"/>
                </a:cubicBezTo>
                <a:cubicBezTo>
                  <a:pt x="6937779" y="-37722"/>
                  <a:pt x="7064876" y="21683"/>
                  <a:pt x="7234222" y="0"/>
                </a:cubicBezTo>
                <a:cubicBezTo>
                  <a:pt x="7403568" y="-21683"/>
                  <a:pt x="7550541" y="8374"/>
                  <a:pt x="7724282" y="0"/>
                </a:cubicBezTo>
                <a:cubicBezTo>
                  <a:pt x="7898023" y="-8374"/>
                  <a:pt x="8115629" y="39734"/>
                  <a:pt x="8214342" y="0"/>
                </a:cubicBezTo>
                <a:cubicBezTo>
                  <a:pt x="8313055" y="-39734"/>
                  <a:pt x="8842585" y="19973"/>
                  <a:pt x="9334480" y="0"/>
                </a:cubicBezTo>
                <a:cubicBezTo>
                  <a:pt x="9367667" y="171373"/>
                  <a:pt x="9293567" y="253743"/>
                  <a:pt x="9334480" y="470379"/>
                </a:cubicBezTo>
                <a:cubicBezTo>
                  <a:pt x="9375393" y="687015"/>
                  <a:pt x="9311172" y="780322"/>
                  <a:pt x="9334480" y="940758"/>
                </a:cubicBezTo>
                <a:cubicBezTo>
                  <a:pt x="9357788" y="1101194"/>
                  <a:pt x="9330575" y="1231427"/>
                  <a:pt x="9334480" y="1479973"/>
                </a:cubicBezTo>
                <a:cubicBezTo>
                  <a:pt x="9338385" y="1728520"/>
                  <a:pt x="9297129" y="1850246"/>
                  <a:pt x="9334480" y="1950352"/>
                </a:cubicBezTo>
                <a:cubicBezTo>
                  <a:pt x="9371831" y="2050458"/>
                  <a:pt x="9322948" y="2349189"/>
                  <a:pt x="9334480" y="2523984"/>
                </a:cubicBezTo>
                <a:cubicBezTo>
                  <a:pt x="9346012" y="2698779"/>
                  <a:pt x="9323720" y="3051956"/>
                  <a:pt x="9334480" y="3441797"/>
                </a:cubicBezTo>
                <a:cubicBezTo>
                  <a:pt x="9194211" y="3444941"/>
                  <a:pt x="9059805" y="3429126"/>
                  <a:pt x="8937765" y="3441797"/>
                </a:cubicBezTo>
                <a:cubicBezTo>
                  <a:pt x="8815725" y="3454468"/>
                  <a:pt x="8436173" y="3422697"/>
                  <a:pt x="8167670" y="3441797"/>
                </a:cubicBezTo>
                <a:cubicBezTo>
                  <a:pt x="7899167" y="3460897"/>
                  <a:pt x="7891350" y="3420612"/>
                  <a:pt x="7770955" y="3441797"/>
                </a:cubicBezTo>
                <a:cubicBezTo>
                  <a:pt x="7650560" y="3462982"/>
                  <a:pt x="7586336" y="3418968"/>
                  <a:pt x="7467584" y="3441797"/>
                </a:cubicBezTo>
                <a:cubicBezTo>
                  <a:pt x="7348832" y="3464626"/>
                  <a:pt x="6964604" y="3400831"/>
                  <a:pt x="6697489" y="3441797"/>
                </a:cubicBezTo>
                <a:cubicBezTo>
                  <a:pt x="6430375" y="3482763"/>
                  <a:pt x="6192455" y="3387163"/>
                  <a:pt x="5927395" y="3441797"/>
                </a:cubicBezTo>
                <a:cubicBezTo>
                  <a:pt x="5662335" y="3496431"/>
                  <a:pt x="5674647" y="3435194"/>
                  <a:pt x="5530679" y="3441797"/>
                </a:cubicBezTo>
                <a:cubicBezTo>
                  <a:pt x="5386711" y="3448400"/>
                  <a:pt x="5254112" y="3421889"/>
                  <a:pt x="5133964" y="3441797"/>
                </a:cubicBezTo>
                <a:cubicBezTo>
                  <a:pt x="5013817" y="3461705"/>
                  <a:pt x="4784497" y="3431769"/>
                  <a:pt x="4550559" y="3441797"/>
                </a:cubicBezTo>
                <a:cubicBezTo>
                  <a:pt x="4316621" y="3451825"/>
                  <a:pt x="4208365" y="3404792"/>
                  <a:pt x="3873809" y="3441797"/>
                </a:cubicBezTo>
                <a:cubicBezTo>
                  <a:pt x="3539253" y="3478802"/>
                  <a:pt x="3436686" y="3379478"/>
                  <a:pt x="3290404" y="3441797"/>
                </a:cubicBezTo>
                <a:cubicBezTo>
                  <a:pt x="3144122" y="3504116"/>
                  <a:pt x="3053014" y="3409474"/>
                  <a:pt x="2893689" y="3441797"/>
                </a:cubicBezTo>
                <a:cubicBezTo>
                  <a:pt x="2734365" y="3474120"/>
                  <a:pt x="2295662" y="3390378"/>
                  <a:pt x="2123594" y="3441797"/>
                </a:cubicBezTo>
                <a:cubicBezTo>
                  <a:pt x="1951527" y="3493216"/>
                  <a:pt x="1764039" y="3378567"/>
                  <a:pt x="1446844" y="3441797"/>
                </a:cubicBezTo>
                <a:cubicBezTo>
                  <a:pt x="1129649" y="3505027"/>
                  <a:pt x="1124852" y="3421785"/>
                  <a:pt x="956784" y="3441797"/>
                </a:cubicBezTo>
                <a:cubicBezTo>
                  <a:pt x="788716" y="3461809"/>
                  <a:pt x="435591" y="3403048"/>
                  <a:pt x="0" y="3441797"/>
                </a:cubicBezTo>
                <a:cubicBezTo>
                  <a:pt x="-53216" y="3149168"/>
                  <a:pt x="72294" y="3014607"/>
                  <a:pt x="0" y="2833746"/>
                </a:cubicBezTo>
                <a:cubicBezTo>
                  <a:pt x="-72294" y="2652885"/>
                  <a:pt x="47757" y="2444599"/>
                  <a:pt x="0" y="2328949"/>
                </a:cubicBezTo>
                <a:cubicBezTo>
                  <a:pt x="-47757" y="2213299"/>
                  <a:pt x="14324" y="2028950"/>
                  <a:pt x="0" y="1755316"/>
                </a:cubicBezTo>
                <a:cubicBezTo>
                  <a:pt x="-14324" y="1481682"/>
                  <a:pt x="3819" y="1356949"/>
                  <a:pt x="0" y="1112848"/>
                </a:cubicBezTo>
                <a:cubicBezTo>
                  <a:pt x="-3819" y="868747"/>
                  <a:pt x="65279" y="766228"/>
                  <a:pt x="0" y="504797"/>
                </a:cubicBezTo>
                <a:cubicBezTo>
                  <a:pt x="-65279" y="243366"/>
                  <a:pt x="51100" y="129180"/>
                  <a:pt x="0" y="0"/>
                </a:cubicBezTo>
                <a:close/>
              </a:path>
            </a:pathLst>
          </a:custGeom>
          <a:ln>
            <a:solidFill>
              <a:schemeClr val="accent6">
                <a:lumMod val="50000"/>
              </a:schemeClr>
            </a:solidFill>
            <a:extLst>
              <a:ext uri="{C807C97D-BFC1-408E-A445-0C87EB9F89A2}">
                <ask:lineSketchStyleProps xmlns:ask="http://schemas.microsoft.com/office/drawing/2018/sketchyshapes" sd="1050119024">
                  <a:prstGeom prst="rect">
                    <a:avLst/>
                  </a:prstGeom>
                  <ask:type>
                    <ask:lineSketchScribble/>
                  </ask:type>
                </ask:lineSketchStyleProps>
              </a:ext>
            </a:extLst>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sz="2400" b="1" u="sng" dirty="0"/>
              <a:t>Unengaged parents </a:t>
            </a:r>
          </a:p>
          <a:p>
            <a:pPr>
              <a:lnSpc>
                <a:spcPct val="100000"/>
              </a:lnSpc>
              <a:buFont typeface="Wingdings" pitchFamily="2" charset="2"/>
              <a:buChar char="§"/>
            </a:pPr>
            <a:r>
              <a:rPr lang="en-US" sz="1600" dirty="0"/>
              <a:t>When dealing with unengaged parents, try to get more creative on how to minimize parents’ involvement at home so students can participate and deliver assignments as independently as possible. </a:t>
            </a:r>
            <a:r>
              <a:rPr lang="en-US" sz="1600" dirty="0">
                <a:solidFill>
                  <a:prstClr val="black"/>
                </a:solidFill>
              </a:rPr>
              <a:t>For instance, if a project requires students to interview parents, have them interview their peers at school instead. You could dedicate an hour or so during school hours a few times a week to address any concerns or questions students may have.</a:t>
            </a:r>
            <a:endParaRPr lang="en-US" sz="1600" dirty="0"/>
          </a:p>
          <a:p>
            <a:pPr>
              <a:lnSpc>
                <a:spcPct val="100000"/>
              </a:lnSpc>
              <a:buFont typeface="Wingdings" pitchFamily="2" charset="2"/>
              <a:buChar char="§"/>
            </a:pPr>
            <a:r>
              <a:rPr lang="en-US" sz="1600" dirty="0"/>
              <a:t>For such independence to be achieved, you need to deliver crystal clear instructions to students so they can perform tasks with minimum support from parents. </a:t>
            </a:r>
          </a:p>
          <a:p>
            <a:pPr>
              <a:lnSpc>
                <a:spcPct val="100000"/>
              </a:lnSpc>
              <a:buFont typeface="Wingdings" pitchFamily="2" charset="2"/>
              <a:buChar char="§"/>
            </a:pPr>
            <a:r>
              <a:rPr lang="en-US" sz="1600" dirty="0"/>
              <a:t>You can also assign students’ groups, if you intend to work with groups, based on how close they live to each other to carve more support for students and parents. You could also create mixed ability student groups for learners to support each other.</a:t>
            </a:r>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p:txBody>
      </p:sp>
      <p:pic>
        <p:nvPicPr>
          <p:cNvPr id="3" name="Graphic 2" descr="Board Of Directors with solid fill">
            <a:extLst>
              <a:ext uri="{FF2B5EF4-FFF2-40B4-BE49-F238E27FC236}">
                <a16:creationId xmlns:a16="http://schemas.microsoft.com/office/drawing/2014/main" id="{4F2EB45F-9EE1-9DB2-44C8-28A32977B43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37080" y="3279344"/>
            <a:ext cx="685089" cy="685089"/>
          </a:xfrm>
          <a:prstGeom prst="rect">
            <a:avLst/>
          </a:prstGeom>
        </p:spPr>
      </p:pic>
      <p:sp>
        <p:nvSpPr>
          <p:cNvPr id="5" name="Rectangle 4">
            <a:extLst>
              <a:ext uri="{FF2B5EF4-FFF2-40B4-BE49-F238E27FC236}">
                <a16:creationId xmlns:a16="http://schemas.microsoft.com/office/drawing/2014/main" id="{877D0C82-6838-8E9A-F84C-CD0D8A8BEE20}"/>
              </a:ext>
            </a:extLst>
          </p:cNvPr>
          <p:cNvSpPr/>
          <p:nvPr/>
        </p:nvSpPr>
        <p:spPr>
          <a:xfrm>
            <a:off x="-1" y="300637"/>
            <a:ext cx="2681417" cy="506760"/>
          </a:xfrm>
          <a:prstGeom prst="rect">
            <a:avLst/>
          </a:prstGeom>
          <a:solidFill>
            <a:schemeClr val="accent1">
              <a:lumMod val="60000"/>
              <a:lumOff val="40000"/>
            </a:schemeClr>
          </a:solidFill>
          <a:ln w="12700" cap="flat" cmpd="sng" algn="ctr">
            <a:solidFill>
              <a:schemeClr val="accent1"/>
            </a:solid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lang="en-US" sz="2400" b="1" kern="0" dirty="0">
                <a:solidFill>
                  <a:schemeClr val="bg1"/>
                </a:solidFill>
                <a:latin typeface="Calibri" panose="020F0502020204030204"/>
              </a:rPr>
              <a:t>Note to Facilitators</a:t>
            </a:r>
            <a:endParaRPr kumimoji="0" lang="en-US" sz="2400" b="1" i="0" u="none" strike="noStrike" kern="0" cap="none" spc="0" normalizeH="0" baseline="0" noProof="0" dirty="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421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695A30-2ED2-4811-B6D8-BB37CA05D6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C6695A30-2ED2-4811-B6D8-BB37CA05D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80D9CE-C1EC-4725-8F8E-DCF7083FCE58}"/>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1" name="Rectangle 10">
            <a:extLst>
              <a:ext uri="{FF2B5EF4-FFF2-40B4-BE49-F238E27FC236}">
                <a16:creationId xmlns:a16="http://schemas.microsoft.com/office/drawing/2014/main" id="{34A16754-A7AD-4A07-95A8-C88CD7C57DAD}"/>
              </a:ext>
            </a:extLst>
          </p:cNvPr>
          <p:cNvSpPr/>
          <p:nvPr/>
        </p:nvSpPr>
        <p:spPr>
          <a:xfrm>
            <a:off x="1146876" y="3667761"/>
            <a:ext cx="9701938" cy="10048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Internet Free Education Resource Ban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Parent Guide </a:t>
            </a:r>
          </a:p>
        </p:txBody>
      </p:sp>
      <p:pic>
        <p:nvPicPr>
          <p:cNvPr id="1026" name="Picture 2" descr="Education Above All Foundation">
            <a:extLst>
              <a:ext uri="{FF2B5EF4-FFF2-40B4-BE49-F238E27FC236}">
                <a16:creationId xmlns:a16="http://schemas.microsoft.com/office/drawing/2014/main" id="{043B58A3-5259-49B9-BE3F-A6E6FAF5FA71}"/>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073525" y="466090"/>
            <a:ext cx="4552950" cy="272415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Icon&#10;&#10;Description automatically generated">
            <a:extLst>
              <a:ext uri="{FF2B5EF4-FFF2-40B4-BE49-F238E27FC236}">
                <a16:creationId xmlns:a16="http://schemas.microsoft.com/office/drawing/2014/main" id="{E1C34A1F-E1E1-7330-AE0B-F2E5106F174B}"/>
              </a:ext>
            </a:extLst>
          </p:cNvPr>
          <p:cNvPicPr>
            <a:picLocks noChangeAspect="1"/>
          </p:cNvPicPr>
          <p:nvPr/>
        </p:nvPicPr>
        <p:blipFill>
          <a:blip r:embed="rId7">
            <a:clrChange>
              <a:clrFrom>
                <a:srgbClr val="F9FAF8"/>
              </a:clrFrom>
              <a:clrTo>
                <a:srgbClr val="F9FAF8">
                  <a:alpha val="0"/>
                </a:srgbClr>
              </a:clrTo>
            </a:clrChange>
            <a:extLst>
              <a:ext uri="{28A0092B-C50C-407E-A947-70E740481C1C}">
                <a14:useLocalDpi xmlns:a14="http://schemas.microsoft.com/office/drawing/2010/main"/>
              </a:ext>
            </a:extLst>
          </a:blip>
          <a:stretch>
            <a:fillRect/>
          </a:stretch>
        </p:blipFill>
        <p:spPr>
          <a:xfrm>
            <a:off x="4848350" y="4886192"/>
            <a:ext cx="2495299" cy="1931846"/>
          </a:xfrm>
          <a:prstGeom prst="rect">
            <a:avLst/>
          </a:prstGeom>
        </p:spPr>
      </p:pic>
    </p:spTree>
    <p:extLst>
      <p:ext uri="{BB962C8B-B14F-4D97-AF65-F5344CB8AC3E}">
        <p14:creationId xmlns:p14="http://schemas.microsoft.com/office/powerpoint/2010/main" val="765309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3" name="Rectangle 62">
            <a:extLst>
              <a:ext uri="{FF2B5EF4-FFF2-40B4-BE49-F238E27FC236}">
                <a16:creationId xmlns:a16="http://schemas.microsoft.com/office/drawing/2014/main" id="{681D366F-0B96-4E6B-ABD5-96092A6A91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17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oogle Shape;135;p16">
            <a:extLst>
              <a:ext uri="{FF2B5EF4-FFF2-40B4-BE49-F238E27FC236}">
                <a16:creationId xmlns:a16="http://schemas.microsoft.com/office/drawing/2014/main" id="{F22D1BDF-1540-4855-933C-42754F566578}"/>
              </a:ext>
            </a:extLst>
          </p:cNvPr>
          <p:cNvPicPr preferRelativeResize="0"/>
          <p:nvPr/>
        </p:nvPicPr>
        <p:blipFill rotWithShape="1">
          <a:blip r:embed="rId3">
            <a:alphaModFix/>
            <a:extLst>
              <a:ext uri="{28A0092B-C50C-407E-A947-70E740481C1C}">
                <a14:useLocalDpi xmlns:a14="http://schemas.microsoft.com/office/drawing/2010/main"/>
              </a:ext>
            </a:extLst>
          </a:blip>
          <a:srcRect b="-2"/>
          <a:stretch/>
        </p:blipFill>
        <p:spPr>
          <a:xfrm>
            <a:off x="7994126" y="-2973"/>
            <a:ext cx="4211230" cy="3776772"/>
          </a:xfrm>
          <a:custGeom>
            <a:avLst/>
            <a:gdLst/>
            <a:ahLst/>
            <a:cxnLst/>
            <a:rect l="l" t="t" r="r" b="b"/>
            <a:pathLst>
              <a:path w="4405154" h="3776782">
                <a:moveTo>
                  <a:pt x="279221" y="0"/>
                </a:moveTo>
                <a:lnTo>
                  <a:pt x="4405154" y="0"/>
                </a:lnTo>
                <a:lnTo>
                  <a:pt x="4405154" y="3055054"/>
                </a:lnTo>
                <a:lnTo>
                  <a:pt x="4266200" y="3181344"/>
                </a:lnTo>
                <a:cubicBezTo>
                  <a:pt x="3815461" y="3553326"/>
                  <a:pt x="3237603" y="3776782"/>
                  <a:pt x="2607554" y="3776782"/>
                </a:cubicBezTo>
                <a:cubicBezTo>
                  <a:pt x="1167442" y="3776782"/>
                  <a:pt x="0" y="2609341"/>
                  <a:pt x="0" y="1169228"/>
                </a:cubicBezTo>
                <a:cubicBezTo>
                  <a:pt x="0" y="809200"/>
                  <a:pt x="72965" y="466214"/>
                  <a:pt x="204915" y="154250"/>
                </a:cubicBezTo>
                <a:close/>
              </a:path>
            </a:pathLst>
          </a:custGeom>
          <a:noFill/>
          <a:effectLst>
            <a:softEdge rad="0"/>
          </a:effectLst>
        </p:spPr>
      </p:pic>
      <p:pic>
        <p:nvPicPr>
          <p:cNvPr id="9" name="Google Shape;133;p16">
            <a:extLst>
              <a:ext uri="{FF2B5EF4-FFF2-40B4-BE49-F238E27FC236}">
                <a16:creationId xmlns:a16="http://schemas.microsoft.com/office/drawing/2014/main" id="{919C80E3-8E9B-4186-8C6F-612A5A63E6F3}"/>
              </a:ext>
            </a:extLst>
          </p:cNvPr>
          <p:cNvPicPr preferRelativeResize="0"/>
          <p:nvPr/>
        </p:nvPicPr>
        <p:blipFill rotWithShape="1">
          <a:blip r:embed="rId4">
            <a:alphaModFix/>
            <a:extLst>
              <a:ext uri="{28A0092B-C50C-407E-A947-70E740481C1C}">
                <a14:useLocalDpi xmlns:a14="http://schemas.microsoft.com/office/drawing/2010/main"/>
              </a:ext>
            </a:extLst>
          </a:blip>
          <a:srcRect/>
          <a:stretch/>
        </p:blipFill>
        <p:spPr>
          <a:xfrm>
            <a:off x="8754343" y="3907436"/>
            <a:ext cx="3453522" cy="2950205"/>
          </a:xfrm>
          <a:custGeom>
            <a:avLst/>
            <a:gdLst/>
            <a:ahLst/>
            <a:cxnLst/>
            <a:rect l="l" t="t" r="r" b="b"/>
            <a:pathLst>
              <a:path w="3453522" h="2950205">
                <a:moveTo>
                  <a:pt x="1901420" y="0"/>
                </a:moveTo>
                <a:cubicBezTo>
                  <a:pt x="2492116" y="0"/>
                  <a:pt x="3019900" y="269355"/>
                  <a:pt x="3368648" y="691940"/>
                </a:cubicBezTo>
                <a:lnTo>
                  <a:pt x="3453522" y="805440"/>
                </a:lnTo>
                <a:lnTo>
                  <a:pt x="3453522" y="2950205"/>
                </a:lnTo>
                <a:lnTo>
                  <a:pt x="316036" y="2950205"/>
                </a:lnTo>
                <a:lnTo>
                  <a:pt x="229491" y="2807749"/>
                </a:lnTo>
                <a:cubicBezTo>
                  <a:pt x="83134" y="2538330"/>
                  <a:pt x="0" y="2229583"/>
                  <a:pt x="0" y="1901419"/>
                </a:cubicBezTo>
                <a:cubicBezTo>
                  <a:pt x="0" y="851294"/>
                  <a:pt x="851295" y="0"/>
                  <a:pt x="1901420" y="0"/>
                </a:cubicBezTo>
                <a:close/>
              </a:path>
            </a:pathLst>
          </a:custGeom>
          <a:noFill/>
          <a:effectLst>
            <a:softEdge rad="0"/>
          </a:effectLst>
        </p:spPr>
      </p:pic>
      <p:grpSp>
        <p:nvGrpSpPr>
          <p:cNvPr id="65" name="Group 64">
            <a:extLst>
              <a:ext uri="{FF2B5EF4-FFF2-40B4-BE49-F238E27FC236}">
                <a16:creationId xmlns:a16="http://schemas.microsoft.com/office/drawing/2014/main" id="{BCFC0C88-15C5-478A-93E5-8D0F6E26BC3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639352" y="2502393"/>
            <a:ext cx="3490075" cy="3464887"/>
            <a:chOff x="5639352" y="2502393"/>
            <a:chExt cx="3490075" cy="3464887"/>
          </a:xfrm>
        </p:grpSpPr>
        <p:sp>
          <p:nvSpPr>
            <p:cNvPr id="66" name="Freeform: Shape 65">
              <a:extLst>
                <a:ext uri="{FF2B5EF4-FFF2-40B4-BE49-F238E27FC236}">
                  <a16:creationId xmlns:a16="http://schemas.microsoft.com/office/drawing/2014/main" id="{325FDF8B-1638-4A75-889A-DE78DD02A5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5666607" y="2623204"/>
              <a:ext cx="3457237" cy="3274516"/>
            </a:xfrm>
            <a:custGeom>
              <a:avLst/>
              <a:gdLst>
                <a:gd name="connsiteX0" fmla="*/ 3016472 w 5391150"/>
                <a:gd name="connsiteY0" fmla="*/ 571500 h 5123497"/>
                <a:gd name="connsiteX1" fmla="*/ 3774758 w 5391150"/>
                <a:gd name="connsiteY1" fmla="*/ 729234 h 5123497"/>
                <a:gd name="connsiteX2" fmla="*/ 4324255 w 5391150"/>
                <a:gd name="connsiteY2" fmla="*/ 1153573 h 5123497"/>
                <a:gd name="connsiteX3" fmla="*/ 4819650 w 5391150"/>
                <a:gd name="connsiteY3" fmla="*/ 2684336 h 5123497"/>
                <a:gd name="connsiteX4" fmla="*/ 4609719 w 5391150"/>
                <a:gd name="connsiteY4" fmla="*/ 3278029 h 5123497"/>
                <a:gd name="connsiteX5" fmla="*/ 3943350 w 5391150"/>
                <a:gd name="connsiteY5" fmla="*/ 3869912 h 5123497"/>
                <a:gd name="connsiteX6" fmla="*/ 3792760 w 5391150"/>
                <a:gd name="connsiteY6" fmla="*/ 3986594 h 5123497"/>
                <a:gd name="connsiteX7" fmla="*/ 3182779 w 5391150"/>
                <a:gd name="connsiteY7" fmla="*/ 4406551 h 5123497"/>
                <a:gd name="connsiteX8" fmla="*/ 2617946 w 5391150"/>
                <a:gd name="connsiteY8" fmla="*/ 4551998 h 5123497"/>
                <a:gd name="connsiteX9" fmla="*/ 1739837 w 5391150"/>
                <a:gd name="connsiteY9" fmla="*/ 4323588 h 5123497"/>
                <a:gd name="connsiteX10" fmla="*/ 1071944 w 5391150"/>
                <a:gd name="connsiteY10" fmla="*/ 3641789 h 5123497"/>
                <a:gd name="connsiteX11" fmla="*/ 896874 w 5391150"/>
                <a:gd name="connsiteY11" fmla="*/ 3395567 h 5123497"/>
                <a:gd name="connsiteX12" fmla="*/ 571500 w 5391150"/>
                <a:gd name="connsiteY12" fmla="*/ 2684336 h 5123497"/>
                <a:gd name="connsiteX13" fmla="*/ 768572 w 5391150"/>
                <a:gd name="connsiteY13" fmla="*/ 1901571 h 5123497"/>
                <a:gd name="connsiteX14" fmla="*/ 1318546 w 5391150"/>
                <a:gd name="connsiteY14" fmla="*/ 1220153 h 5123497"/>
                <a:gd name="connsiteX15" fmla="*/ 2118646 w 5391150"/>
                <a:gd name="connsiteY15" fmla="*/ 744284 h 5123497"/>
                <a:gd name="connsiteX16" fmla="*/ 3016472 w 5391150"/>
                <a:gd name="connsiteY16" fmla="*/ 571500 h 5123497"/>
                <a:gd name="connsiteX17" fmla="*/ 3016472 w 5391150"/>
                <a:gd name="connsiteY17" fmla="*/ 0 h 5123497"/>
                <a:gd name="connsiteX18" fmla="*/ 0 w 5391150"/>
                <a:gd name="connsiteY18" fmla="*/ 2684336 h 5123497"/>
                <a:gd name="connsiteX19" fmla="*/ 599027 w 5391150"/>
                <a:gd name="connsiteY19" fmla="*/ 3962591 h 5123497"/>
                <a:gd name="connsiteX20" fmla="*/ 2617946 w 5391150"/>
                <a:gd name="connsiteY20" fmla="*/ 5123498 h 5123497"/>
                <a:gd name="connsiteX21" fmla="*/ 4144709 w 5391150"/>
                <a:gd name="connsiteY21" fmla="*/ 4436840 h 5123497"/>
                <a:gd name="connsiteX22" fmla="*/ 5391150 w 5391150"/>
                <a:gd name="connsiteY22" fmla="*/ 2684336 h 5123497"/>
                <a:gd name="connsiteX23" fmla="*/ 3016472 w 5391150"/>
                <a:gd name="connsiteY23" fmla="*/ 0 h 5123497"/>
                <a:gd name="connsiteX24" fmla="*/ 3016472 w 5391150"/>
                <a:gd name="connsiteY24" fmla="*/ 0 h 512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91150" h="5123497">
                  <a:moveTo>
                    <a:pt x="3016472" y="571500"/>
                  </a:moveTo>
                  <a:cubicBezTo>
                    <a:pt x="3294316" y="571500"/>
                    <a:pt x="3549491" y="624554"/>
                    <a:pt x="3774758" y="729234"/>
                  </a:cubicBezTo>
                  <a:cubicBezTo>
                    <a:pt x="3985165" y="826961"/>
                    <a:pt x="4169950" y="969740"/>
                    <a:pt x="4324255" y="1153573"/>
                  </a:cubicBezTo>
                  <a:cubicBezTo>
                    <a:pt x="4643723" y="1534287"/>
                    <a:pt x="4819650" y="2077974"/>
                    <a:pt x="4819650" y="2684336"/>
                  </a:cubicBezTo>
                  <a:cubicBezTo>
                    <a:pt x="4819650" y="2915317"/>
                    <a:pt x="4756881" y="3092863"/>
                    <a:pt x="4609719" y="3278029"/>
                  </a:cubicBezTo>
                  <a:cubicBezTo>
                    <a:pt x="4450080" y="3478911"/>
                    <a:pt x="4203954" y="3668840"/>
                    <a:pt x="3943350" y="3869912"/>
                  </a:cubicBezTo>
                  <a:cubicBezTo>
                    <a:pt x="3894296" y="3907727"/>
                    <a:pt x="3843623" y="3946875"/>
                    <a:pt x="3792760" y="3986594"/>
                  </a:cubicBezTo>
                  <a:cubicBezTo>
                    <a:pt x="3575876" y="4156043"/>
                    <a:pt x="3380328" y="4304634"/>
                    <a:pt x="3182779" y="4406551"/>
                  </a:cubicBezTo>
                  <a:cubicBezTo>
                    <a:pt x="2990374" y="4505802"/>
                    <a:pt x="2810923" y="4551998"/>
                    <a:pt x="2617946" y="4551998"/>
                  </a:cubicBezTo>
                  <a:cubicBezTo>
                    <a:pt x="2277904" y="4551998"/>
                    <a:pt x="1990630" y="4477322"/>
                    <a:pt x="1739837" y="4323588"/>
                  </a:cubicBezTo>
                  <a:cubicBezTo>
                    <a:pt x="1503236" y="4178618"/>
                    <a:pt x="1284827" y="3955542"/>
                    <a:pt x="1071944" y="3641789"/>
                  </a:cubicBezTo>
                  <a:cubicBezTo>
                    <a:pt x="1011746" y="3553111"/>
                    <a:pt x="953357" y="3473006"/>
                    <a:pt x="896874" y="3395567"/>
                  </a:cubicBezTo>
                  <a:cubicBezTo>
                    <a:pt x="671227" y="3086195"/>
                    <a:pt x="571500" y="2938653"/>
                    <a:pt x="571500" y="2684336"/>
                  </a:cubicBezTo>
                  <a:cubicBezTo>
                    <a:pt x="571500" y="2418207"/>
                    <a:pt x="637794" y="2154841"/>
                    <a:pt x="768572" y="1901571"/>
                  </a:cubicBezTo>
                  <a:cubicBezTo>
                    <a:pt x="895922" y="1654969"/>
                    <a:pt x="1086041" y="1419320"/>
                    <a:pt x="1318546" y="1220153"/>
                  </a:cubicBezTo>
                  <a:cubicBezTo>
                    <a:pt x="1551337" y="1020699"/>
                    <a:pt x="1828038" y="856107"/>
                    <a:pt x="2118646" y="744284"/>
                  </a:cubicBezTo>
                  <a:cubicBezTo>
                    <a:pt x="2412397" y="631222"/>
                    <a:pt x="2722912" y="571500"/>
                    <a:pt x="3016472" y="571500"/>
                  </a:cubicBezTo>
                  <a:moveTo>
                    <a:pt x="3016472" y="0"/>
                  </a:moveTo>
                  <a:cubicBezTo>
                    <a:pt x="1518952" y="0"/>
                    <a:pt x="0" y="1201769"/>
                    <a:pt x="0" y="2684336"/>
                  </a:cubicBezTo>
                  <a:cubicBezTo>
                    <a:pt x="0" y="3240310"/>
                    <a:pt x="308324" y="3534156"/>
                    <a:pt x="599027" y="3962591"/>
                  </a:cubicBezTo>
                  <a:cubicBezTo>
                    <a:pt x="1083469" y="4676680"/>
                    <a:pt x="1687544" y="5123498"/>
                    <a:pt x="2617946" y="5123498"/>
                  </a:cubicBezTo>
                  <a:cubicBezTo>
                    <a:pt x="3245358" y="5123498"/>
                    <a:pt x="3686651" y="4794790"/>
                    <a:pt x="4144709" y="4436840"/>
                  </a:cubicBezTo>
                  <a:cubicBezTo>
                    <a:pt x="4773549" y="3945446"/>
                    <a:pt x="5391150" y="3542157"/>
                    <a:pt x="5391150" y="2684336"/>
                  </a:cubicBezTo>
                  <a:cubicBezTo>
                    <a:pt x="5391150" y="1201769"/>
                    <a:pt x="4505230" y="0"/>
                    <a:pt x="3016472" y="0"/>
                  </a:cubicBezTo>
                  <a:lnTo>
                    <a:pt x="3016472" y="0"/>
                  </a:lnTo>
                  <a:close/>
                </a:path>
              </a:pathLst>
            </a:custGeom>
            <a:solidFill>
              <a:schemeClr val="bg1">
                <a:alpha val="20000"/>
              </a:schemeClr>
            </a:solid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D024C4A-DB84-4AF6-B1A4-3F6FC5DB7FC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5666609" y="2623204"/>
              <a:ext cx="3440697" cy="3274516"/>
            </a:xfrm>
            <a:custGeom>
              <a:avLst/>
              <a:gdLst>
                <a:gd name="connsiteX0" fmla="*/ 3016472 w 5391150"/>
                <a:gd name="connsiteY0" fmla="*/ 476250 h 5123497"/>
                <a:gd name="connsiteX1" fmla="*/ 3814953 w 5391150"/>
                <a:gd name="connsiteY1" fmla="*/ 642842 h 5123497"/>
                <a:gd name="connsiteX2" fmla="*/ 4397312 w 5391150"/>
                <a:gd name="connsiteY2" fmla="*/ 1092327 h 5123497"/>
                <a:gd name="connsiteX3" fmla="*/ 4914900 w 5391150"/>
                <a:gd name="connsiteY3" fmla="*/ 2684336 h 5123497"/>
                <a:gd name="connsiteX4" fmla="*/ 4684300 w 5391150"/>
                <a:gd name="connsiteY4" fmla="*/ 3337275 h 5123497"/>
                <a:gd name="connsiteX5" fmla="*/ 4001548 w 5391150"/>
                <a:gd name="connsiteY5" fmla="*/ 3945255 h 5123497"/>
                <a:gd name="connsiteX6" fmla="*/ 3851434 w 5391150"/>
                <a:gd name="connsiteY6" fmla="*/ 4061555 h 5123497"/>
                <a:gd name="connsiteX7" fmla="*/ 2617946 w 5391150"/>
                <a:gd name="connsiteY7" fmla="*/ 4647248 h 5123497"/>
                <a:gd name="connsiteX8" fmla="*/ 993077 w 5391150"/>
                <a:gd name="connsiteY8" fmla="*/ 3695224 h 5123497"/>
                <a:gd name="connsiteX9" fmla="*/ 819912 w 5391150"/>
                <a:gd name="connsiteY9" fmla="*/ 3451670 h 5123497"/>
                <a:gd name="connsiteX10" fmla="*/ 476250 w 5391150"/>
                <a:gd name="connsiteY10" fmla="*/ 2684336 h 5123497"/>
                <a:gd name="connsiteX11" fmla="*/ 683895 w 5391150"/>
                <a:gd name="connsiteY11" fmla="*/ 1857947 h 5123497"/>
                <a:gd name="connsiteX12" fmla="*/ 1256538 w 5391150"/>
                <a:gd name="connsiteY12" fmla="*/ 1147858 h 5123497"/>
                <a:gd name="connsiteX13" fmla="*/ 2084451 w 5391150"/>
                <a:gd name="connsiteY13" fmla="*/ 655415 h 5123497"/>
                <a:gd name="connsiteX14" fmla="*/ 3016472 w 5391150"/>
                <a:gd name="connsiteY14" fmla="*/ 476250 h 5123497"/>
                <a:gd name="connsiteX15" fmla="*/ 3016472 w 5391150"/>
                <a:gd name="connsiteY15" fmla="*/ 0 h 5123497"/>
                <a:gd name="connsiteX16" fmla="*/ 0 w 5391150"/>
                <a:gd name="connsiteY16" fmla="*/ 2684336 h 5123497"/>
                <a:gd name="connsiteX17" fmla="*/ 599027 w 5391150"/>
                <a:gd name="connsiteY17" fmla="*/ 3962591 h 5123497"/>
                <a:gd name="connsiteX18" fmla="*/ 2617946 w 5391150"/>
                <a:gd name="connsiteY18" fmla="*/ 5123498 h 5123497"/>
                <a:gd name="connsiteX19" fmla="*/ 4144709 w 5391150"/>
                <a:gd name="connsiteY19" fmla="*/ 4436840 h 5123497"/>
                <a:gd name="connsiteX20" fmla="*/ 5391150 w 5391150"/>
                <a:gd name="connsiteY20" fmla="*/ 2684336 h 5123497"/>
                <a:gd name="connsiteX21" fmla="*/ 3016472 w 5391150"/>
                <a:gd name="connsiteY21" fmla="*/ 0 h 5123497"/>
                <a:gd name="connsiteX22" fmla="*/ 3016472 w 5391150"/>
                <a:gd name="connsiteY22" fmla="*/ 0 h 512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91150" h="5123497">
                  <a:moveTo>
                    <a:pt x="3016472" y="476250"/>
                  </a:moveTo>
                  <a:cubicBezTo>
                    <a:pt x="3308318" y="476250"/>
                    <a:pt x="3576923" y="532352"/>
                    <a:pt x="3814953" y="642842"/>
                  </a:cubicBezTo>
                  <a:cubicBezTo>
                    <a:pt x="4038029" y="746474"/>
                    <a:pt x="4233958" y="897731"/>
                    <a:pt x="4397312" y="1092327"/>
                  </a:cubicBezTo>
                  <a:cubicBezTo>
                    <a:pt x="4731068" y="1490186"/>
                    <a:pt x="4914900" y="2055590"/>
                    <a:pt x="4914900" y="2684336"/>
                  </a:cubicBezTo>
                  <a:cubicBezTo>
                    <a:pt x="4914900" y="2935224"/>
                    <a:pt x="4843749" y="3136583"/>
                    <a:pt x="4684300" y="3337275"/>
                  </a:cubicBezTo>
                  <a:cubicBezTo>
                    <a:pt x="4517517" y="3547205"/>
                    <a:pt x="4266915" y="3740563"/>
                    <a:pt x="4001548" y="3945255"/>
                  </a:cubicBezTo>
                  <a:cubicBezTo>
                    <a:pt x="3952589" y="3982974"/>
                    <a:pt x="3902012" y="4022027"/>
                    <a:pt x="3851434" y="4061555"/>
                  </a:cubicBezTo>
                  <a:cubicBezTo>
                    <a:pt x="3398711" y="4415314"/>
                    <a:pt x="3068288" y="4647248"/>
                    <a:pt x="2617946" y="4647248"/>
                  </a:cubicBezTo>
                  <a:cubicBezTo>
                    <a:pt x="1931765" y="4647248"/>
                    <a:pt x="1445800" y="4362545"/>
                    <a:pt x="993077" y="3695224"/>
                  </a:cubicBezTo>
                  <a:cubicBezTo>
                    <a:pt x="933831" y="3607880"/>
                    <a:pt x="875919" y="3528441"/>
                    <a:pt x="819912" y="3451670"/>
                  </a:cubicBezTo>
                  <a:cubicBezTo>
                    <a:pt x="587788" y="3133439"/>
                    <a:pt x="476250" y="2967895"/>
                    <a:pt x="476250" y="2684336"/>
                  </a:cubicBezTo>
                  <a:cubicBezTo>
                    <a:pt x="476250" y="2402872"/>
                    <a:pt x="546164" y="2124837"/>
                    <a:pt x="683895" y="1857947"/>
                  </a:cubicBezTo>
                  <a:cubicBezTo>
                    <a:pt x="818674" y="1596866"/>
                    <a:pt x="1011365" y="1357884"/>
                    <a:pt x="1256538" y="1147858"/>
                  </a:cubicBezTo>
                  <a:cubicBezTo>
                    <a:pt x="1497521" y="941356"/>
                    <a:pt x="1783747" y="771049"/>
                    <a:pt x="2084451" y="655415"/>
                  </a:cubicBezTo>
                  <a:cubicBezTo>
                    <a:pt x="2393347" y="536448"/>
                    <a:pt x="2707005" y="476250"/>
                    <a:pt x="3016472" y="476250"/>
                  </a:cubicBezTo>
                  <a:moveTo>
                    <a:pt x="3016472" y="0"/>
                  </a:moveTo>
                  <a:cubicBezTo>
                    <a:pt x="1518952" y="0"/>
                    <a:pt x="0" y="1201769"/>
                    <a:pt x="0" y="2684336"/>
                  </a:cubicBezTo>
                  <a:cubicBezTo>
                    <a:pt x="0" y="3240310"/>
                    <a:pt x="308324" y="3534156"/>
                    <a:pt x="599027" y="3962591"/>
                  </a:cubicBezTo>
                  <a:cubicBezTo>
                    <a:pt x="1083469" y="4676680"/>
                    <a:pt x="1687544" y="5123498"/>
                    <a:pt x="2617946" y="5123498"/>
                  </a:cubicBezTo>
                  <a:cubicBezTo>
                    <a:pt x="3245358" y="5123498"/>
                    <a:pt x="3686651" y="4794790"/>
                    <a:pt x="4144709" y="4436840"/>
                  </a:cubicBezTo>
                  <a:cubicBezTo>
                    <a:pt x="4773549" y="3945446"/>
                    <a:pt x="5391150" y="3542157"/>
                    <a:pt x="5391150" y="2684336"/>
                  </a:cubicBezTo>
                  <a:cubicBezTo>
                    <a:pt x="5391150" y="1201769"/>
                    <a:pt x="4505230" y="0"/>
                    <a:pt x="3016472" y="0"/>
                  </a:cubicBezTo>
                  <a:lnTo>
                    <a:pt x="3016472" y="0"/>
                  </a:lnTo>
                  <a:close/>
                </a:path>
              </a:pathLst>
            </a:custGeom>
            <a:solidFill>
              <a:schemeClr val="bg1">
                <a:alpha val="20000"/>
              </a:schemeClr>
            </a:solid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736B74E6-A9EE-4224-9751-ECDDACB0BD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5657618" y="2600627"/>
              <a:ext cx="3457238" cy="3319750"/>
            </a:xfrm>
            <a:custGeom>
              <a:avLst/>
              <a:gdLst>
                <a:gd name="connsiteX0" fmla="*/ 0 w 5419747"/>
                <a:gd name="connsiteY0" fmla="*/ 2700514 h 5194273"/>
                <a:gd name="connsiteX1" fmla="*/ 52864 w 5419747"/>
                <a:gd name="connsiteY1" fmla="*/ 2193498 h 5194273"/>
                <a:gd name="connsiteX2" fmla="*/ 211741 w 5419747"/>
                <a:gd name="connsiteY2" fmla="*/ 1707723 h 5194273"/>
                <a:gd name="connsiteX3" fmla="*/ 807434 w 5419747"/>
                <a:gd name="connsiteY3" fmla="*/ 882763 h 5194273"/>
                <a:gd name="connsiteX4" fmla="*/ 1202436 w 5419747"/>
                <a:gd name="connsiteY4" fmla="*/ 559580 h 5194273"/>
                <a:gd name="connsiteX5" fmla="*/ 1643920 w 5419747"/>
                <a:gd name="connsiteY5" fmla="*/ 302976 h 5194273"/>
                <a:gd name="connsiteX6" fmla="*/ 2623947 w 5419747"/>
                <a:gd name="connsiteY6" fmla="*/ 19989 h 5194273"/>
                <a:gd name="connsiteX7" fmla="*/ 3136868 w 5419747"/>
                <a:gd name="connsiteY7" fmla="*/ 5034 h 5194273"/>
                <a:gd name="connsiteX8" fmla="*/ 3645408 w 5419747"/>
                <a:gd name="connsiteY8" fmla="*/ 83997 h 5194273"/>
                <a:gd name="connsiteX9" fmla="*/ 4129278 w 5419747"/>
                <a:gd name="connsiteY9" fmla="*/ 267258 h 5194273"/>
                <a:gd name="connsiteX10" fmla="*/ 4557998 w 5419747"/>
                <a:gd name="connsiteY10" fmla="*/ 558627 h 5194273"/>
                <a:gd name="connsiteX11" fmla="*/ 4900803 w 5419747"/>
                <a:gd name="connsiteY11" fmla="*/ 944676 h 5194273"/>
                <a:gd name="connsiteX12" fmla="*/ 4937760 w 5419747"/>
                <a:gd name="connsiteY12" fmla="*/ 997444 h 5194273"/>
                <a:gd name="connsiteX13" fmla="*/ 4973193 w 5419747"/>
                <a:gd name="connsiteY13" fmla="*/ 1051165 h 5194273"/>
                <a:gd name="connsiteX14" fmla="*/ 5007578 w 5419747"/>
                <a:gd name="connsiteY14" fmla="*/ 1105458 h 5194273"/>
                <a:gd name="connsiteX15" fmla="*/ 5040726 w 5419747"/>
                <a:gd name="connsiteY15" fmla="*/ 1160512 h 5194273"/>
                <a:gd name="connsiteX16" fmla="*/ 5161788 w 5419747"/>
                <a:gd name="connsiteY16" fmla="*/ 1387017 h 5194273"/>
                <a:gd name="connsiteX17" fmla="*/ 5327523 w 5419747"/>
                <a:gd name="connsiteY17" fmla="*/ 1870887 h 5194273"/>
                <a:gd name="connsiteX18" fmla="*/ 5366385 w 5419747"/>
                <a:gd name="connsiteY18" fmla="*/ 2122632 h 5194273"/>
                <a:gd name="connsiteX19" fmla="*/ 5391626 w 5419747"/>
                <a:gd name="connsiteY19" fmla="*/ 2374569 h 5194273"/>
                <a:gd name="connsiteX20" fmla="*/ 5411724 w 5419747"/>
                <a:gd name="connsiteY20" fmla="*/ 2626505 h 5194273"/>
                <a:gd name="connsiteX21" fmla="*/ 5415820 w 5419747"/>
                <a:gd name="connsiteY21" fmla="*/ 2689656 h 5194273"/>
                <a:gd name="connsiteX22" fmla="*/ 5417630 w 5419747"/>
                <a:gd name="connsiteY22" fmla="*/ 2722136 h 5194273"/>
                <a:gd name="connsiteX23" fmla="*/ 5418963 w 5419747"/>
                <a:gd name="connsiteY23" fmla="*/ 2755188 h 5194273"/>
                <a:gd name="connsiteX24" fmla="*/ 5417153 w 5419747"/>
                <a:gd name="connsiteY24" fmla="*/ 2888347 h 5194273"/>
                <a:gd name="connsiteX25" fmla="*/ 5281517 w 5419747"/>
                <a:gd name="connsiteY25" fmla="*/ 3411365 h 5194273"/>
                <a:gd name="connsiteX26" fmla="*/ 4980052 w 5419747"/>
                <a:gd name="connsiteY26" fmla="*/ 3855516 h 5194273"/>
                <a:gd name="connsiteX27" fmla="*/ 4796314 w 5419747"/>
                <a:gd name="connsiteY27" fmla="*/ 4040682 h 5194273"/>
                <a:gd name="connsiteX28" fmla="*/ 4604766 w 5419747"/>
                <a:gd name="connsiteY28" fmla="*/ 4208989 h 5194273"/>
                <a:gd name="connsiteX29" fmla="*/ 4215670 w 5419747"/>
                <a:gd name="connsiteY29" fmla="*/ 4512265 h 5194273"/>
                <a:gd name="connsiteX30" fmla="*/ 4117753 w 5419747"/>
                <a:gd name="connsiteY30" fmla="*/ 4586274 h 5194273"/>
                <a:gd name="connsiteX31" fmla="*/ 4017169 w 5419747"/>
                <a:gd name="connsiteY31" fmla="*/ 4660759 h 5194273"/>
                <a:gd name="connsiteX32" fmla="*/ 3914108 w 5419747"/>
                <a:gd name="connsiteY32" fmla="*/ 4734292 h 5194273"/>
                <a:gd name="connsiteX33" fmla="*/ 3807809 w 5419747"/>
                <a:gd name="connsiteY33" fmla="*/ 4805730 h 5194273"/>
                <a:gd name="connsiteX34" fmla="*/ 3584639 w 5419747"/>
                <a:gd name="connsiteY34" fmla="*/ 4939842 h 5194273"/>
                <a:gd name="connsiteX35" fmla="*/ 3344609 w 5419747"/>
                <a:gd name="connsiteY35" fmla="*/ 5053856 h 5194273"/>
                <a:gd name="connsiteX36" fmla="*/ 2822258 w 5419747"/>
                <a:gd name="connsiteY36" fmla="*/ 5185015 h 5194273"/>
                <a:gd name="connsiteX37" fmla="*/ 2687765 w 5419747"/>
                <a:gd name="connsiteY37" fmla="*/ 5193493 h 5194273"/>
                <a:gd name="connsiteX38" fmla="*/ 2654141 w 5419747"/>
                <a:gd name="connsiteY38" fmla="*/ 5194254 h 5194273"/>
                <a:gd name="connsiteX39" fmla="*/ 2620613 w 5419747"/>
                <a:gd name="connsiteY39" fmla="*/ 5194064 h 5194273"/>
                <a:gd name="connsiteX40" fmla="*/ 2587181 w 5419747"/>
                <a:gd name="connsiteY40" fmla="*/ 5193683 h 5194273"/>
                <a:gd name="connsiteX41" fmla="*/ 2554700 w 5419747"/>
                <a:gd name="connsiteY41" fmla="*/ 5192445 h 5194273"/>
                <a:gd name="connsiteX42" fmla="*/ 2295239 w 5419747"/>
                <a:gd name="connsiteY42" fmla="*/ 5171776 h 5194273"/>
                <a:gd name="connsiteX43" fmla="*/ 2037398 w 5419747"/>
                <a:gd name="connsiteY43" fmla="*/ 5126246 h 5194273"/>
                <a:gd name="connsiteX44" fmla="*/ 1784128 w 5419747"/>
                <a:gd name="connsiteY44" fmla="*/ 5054904 h 5194273"/>
                <a:gd name="connsiteX45" fmla="*/ 1299305 w 5419747"/>
                <a:gd name="connsiteY45" fmla="*/ 4840401 h 5194273"/>
                <a:gd name="connsiteX46" fmla="*/ 890683 w 5419747"/>
                <a:gd name="connsiteY46" fmla="*/ 4506454 h 5194273"/>
                <a:gd name="connsiteX47" fmla="*/ 725043 w 5419747"/>
                <a:gd name="connsiteY47" fmla="*/ 4305477 h 5194273"/>
                <a:gd name="connsiteX48" fmla="*/ 580358 w 5419747"/>
                <a:gd name="connsiteY48" fmla="*/ 4092688 h 5194273"/>
                <a:gd name="connsiteX49" fmla="*/ 546545 w 5419747"/>
                <a:gd name="connsiteY49" fmla="*/ 4038491 h 5194273"/>
                <a:gd name="connsiteX50" fmla="*/ 514255 w 5419747"/>
                <a:gd name="connsiteY50" fmla="*/ 3985913 h 5194273"/>
                <a:gd name="connsiteX51" fmla="*/ 450533 w 5419747"/>
                <a:gd name="connsiteY51" fmla="*/ 3883995 h 5194273"/>
                <a:gd name="connsiteX52" fmla="*/ 318516 w 5419747"/>
                <a:gd name="connsiteY52" fmla="*/ 3675779 h 5194273"/>
                <a:gd name="connsiteX53" fmla="*/ 189643 w 5419747"/>
                <a:gd name="connsiteY53" fmla="*/ 3455656 h 5194273"/>
                <a:gd name="connsiteX54" fmla="*/ 131540 w 5419747"/>
                <a:gd name="connsiteY54" fmla="*/ 3338975 h 5194273"/>
                <a:gd name="connsiteX55" fmla="*/ 82201 w 5419747"/>
                <a:gd name="connsiteY55" fmla="*/ 3216864 h 5194273"/>
                <a:gd name="connsiteX56" fmla="*/ 44387 w 5419747"/>
                <a:gd name="connsiteY56" fmla="*/ 3090182 h 5194273"/>
                <a:gd name="connsiteX57" fmla="*/ 30289 w 5419747"/>
                <a:gd name="connsiteY57" fmla="*/ 3025602 h 5194273"/>
                <a:gd name="connsiteX58" fmla="*/ 24098 w 5419747"/>
                <a:gd name="connsiteY58" fmla="*/ 2993217 h 5194273"/>
                <a:gd name="connsiteX59" fmla="*/ 18955 w 5419747"/>
                <a:gd name="connsiteY59" fmla="*/ 2960737 h 5194273"/>
                <a:gd name="connsiteX60" fmla="*/ 0 w 5419747"/>
                <a:gd name="connsiteY60" fmla="*/ 2700514 h 5194273"/>
                <a:gd name="connsiteX61" fmla="*/ 155162 w 5419747"/>
                <a:gd name="connsiteY61" fmla="*/ 2700514 h 5194273"/>
                <a:gd name="connsiteX62" fmla="*/ 181642 w 5419747"/>
                <a:gd name="connsiteY62" fmla="*/ 2929305 h 5194273"/>
                <a:gd name="connsiteX63" fmla="*/ 259842 w 5419747"/>
                <a:gd name="connsiteY63" fmla="*/ 3143331 h 5194273"/>
                <a:gd name="connsiteX64" fmla="*/ 314420 w 5419747"/>
                <a:gd name="connsiteY64" fmla="*/ 3244106 h 5194273"/>
                <a:gd name="connsiteX65" fmla="*/ 377095 w 5419747"/>
                <a:gd name="connsiteY65" fmla="*/ 3341642 h 5194273"/>
                <a:gd name="connsiteX66" fmla="*/ 521875 w 5419747"/>
                <a:gd name="connsiteY66" fmla="*/ 3530142 h 5194273"/>
                <a:gd name="connsiteX67" fmla="*/ 678561 w 5419747"/>
                <a:gd name="connsiteY67" fmla="*/ 3720070 h 5194273"/>
                <a:gd name="connsiteX68" fmla="*/ 756476 w 5419747"/>
                <a:gd name="connsiteY68" fmla="*/ 3819225 h 5194273"/>
                <a:gd name="connsiteX69" fmla="*/ 793909 w 5419747"/>
                <a:gd name="connsiteY69" fmla="*/ 3867898 h 5194273"/>
                <a:gd name="connsiteX70" fmla="*/ 830580 w 5419747"/>
                <a:gd name="connsiteY70" fmla="*/ 3914475 h 5194273"/>
                <a:gd name="connsiteX71" fmla="*/ 1145667 w 5419747"/>
                <a:gd name="connsiteY71" fmla="*/ 4258709 h 5194273"/>
                <a:gd name="connsiteX72" fmla="*/ 1313212 w 5419747"/>
                <a:gd name="connsiteY72" fmla="*/ 4413585 h 5194273"/>
                <a:gd name="connsiteX73" fmla="*/ 1488662 w 5419747"/>
                <a:gd name="connsiteY73" fmla="*/ 4556365 h 5194273"/>
                <a:gd name="connsiteX74" fmla="*/ 1880616 w 5419747"/>
                <a:gd name="connsiteY74" fmla="*/ 4782203 h 5194273"/>
                <a:gd name="connsiteX75" fmla="*/ 2099882 w 5419747"/>
                <a:gd name="connsiteY75" fmla="*/ 4846020 h 5194273"/>
                <a:gd name="connsiteX76" fmla="*/ 2156079 w 5419747"/>
                <a:gd name="connsiteY76" fmla="*/ 4857260 h 5194273"/>
                <a:gd name="connsiteX77" fmla="*/ 2212753 w 5419747"/>
                <a:gd name="connsiteY77" fmla="*/ 4866690 h 5194273"/>
                <a:gd name="connsiteX78" fmla="*/ 2327148 w 5419747"/>
                <a:gd name="connsiteY78" fmla="*/ 4880215 h 5194273"/>
                <a:gd name="connsiteX79" fmla="*/ 2384679 w 5419747"/>
                <a:gd name="connsiteY79" fmla="*/ 4884597 h 5194273"/>
                <a:gd name="connsiteX80" fmla="*/ 2442401 w 5419747"/>
                <a:gd name="connsiteY80" fmla="*/ 4887645 h 5194273"/>
                <a:gd name="connsiteX81" fmla="*/ 2500313 w 5419747"/>
                <a:gd name="connsiteY81" fmla="*/ 4888978 h 5194273"/>
                <a:gd name="connsiteX82" fmla="*/ 2558320 w 5419747"/>
                <a:gd name="connsiteY82" fmla="*/ 4888693 h 5194273"/>
                <a:gd name="connsiteX83" fmla="*/ 2587371 w 5419747"/>
                <a:gd name="connsiteY83" fmla="*/ 4888407 h 5194273"/>
                <a:gd name="connsiteX84" fmla="*/ 2615374 w 5419747"/>
                <a:gd name="connsiteY84" fmla="*/ 4887168 h 5194273"/>
                <a:gd name="connsiteX85" fmla="*/ 2643283 w 5419747"/>
                <a:gd name="connsiteY85" fmla="*/ 4885740 h 5194273"/>
                <a:gd name="connsiteX86" fmla="*/ 2671096 w 5419747"/>
                <a:gd name="connsiteY86" fmla="*/ 4883454 h 5194273"/>
                <a:gd name="connsiteX87" fmla="*/ 2781395 w 5419747"/>
                <a:gd name="connsiteY87" fmla="*/ 4869833 h 5194273"/>
                <a:gd name="connsiteX88" fmla="*/ 3201543 w 5419747"/>
                <a:gd name="connsiteY88" fmla="*/ 4731911 h 5194273"/>
                <a:gd name="connsiteX89" fmla="*/ 3589687 w 5419747"/>
                <a:gd name="connsiteY89" fmla="*/ 4490071 h 5194273"/>
                <a:gd name="connsiteX90" fmla="*/ 3683794 w 5419747"/>
                <a:gd name="connsiteY90" fmla="*/ 4419015 h 5194273"/>
                <a:gd name="connsiteX91" fmla="*/ 3777901 w 5419747"/>
                <a:gd name="connsiteY91" fmla="*/ 4345577 h 5194273"/>
                <a:gd name="connsiteX92" fmla="*/ 3968496 w 5419747"/>
                <a:gd name="connsiteY92" fmla="*/ 4193177 h 5194273"/>
                <a:gd name="connsiteX93" fmla="*/ 4360259 w 5419747"/>
                <a:gd name="connsiteY93" fmla="*/ 3898188 h 5194273"/>
                <a:gd name="connsiteX94" fmla="*/ 4725257 w 5419747"/>
                <a:gd name="connsiteY94" fmla="*/ 3604818 h 5194273"/>
                <a:gd name="connsiteX95" fmla="*/ 5017103 w 5419747"/>
                <a:gd name="connsiteY95" fmla="*/ 3268585 h 5194273"/>
                <a:gd name="connsiteX96" fmla="*/ 5116544 w 5419747"/>
                <a:gd name="connsiteY96" fmla="*/ 3073132 h 5194273"/>
                <a:gd name="connsiteX97" fmla="*/ 5177124 w 5419747"/>
                <a:gd name="connsiteY97" fmla="*/ 2859582 h 5194273"/>
                <a:gd name="connsiteX98" fmla="*/ 5193887 w 5419747"/>
                <a:gd name="connsiteY98" fmla="*/ 2747568 h 5194273"/>
                <a:gd name="connsiteX99" fmla="*/ 5196650 w 5419747"/>
                <a:gd name="connsiteY99" fmla="*/ 2719183 h 5194273"/>
                <a:gd name="connsiteX100" fmla="*/ 5198745 w 5419747"/>
                <a:gd name="connsiteY100" fmla="*/ 2690227 h 5194273"/>
                <a:gd name="connsiteX101" fmla="*/ 5201793 w 5419747"/>
                <a:gd name="connsiteY101" fmla="*/ 2630410 h 5194273"/>
                <a:gd name="connsiteX102" fmla="*/ 5196555 w 5419747"/>
                <a:gd name="connsiteY102" fmla="*/ 2391238 h 5194273"/>
                <a:gd name="connsiteX103" fmla="*/ 5162931 w 5419747"/>
                <a:gd name="connsiteY103" fmla="*/ 2155017 h 5194273"/>
                <a:gd name="connsiteX104" fmla="*/ 5105876 w 5419747"/>
                <a:gd name="connsiteY104" fmla="*/ 1924512 h 5194273"/>
                <a:gd name="connsiteX105" fmla="*/ 4958525 w 5419747"/>
                <a:gd name="connsiteY105" fmla="*/ 1477314 h 5194273"/>
                <a:gd name="connsiteX106" fmla="*/ 4858131 w 5419747"/>
                <a:gd name="connsiteY106" fmla="*/ 1265001 h 5194273"/>
                <a:gd name="connsiteX107" fmla="*/ 4828890 w 5419747"/>
                <a:gd name="connsiteY107" fmla="*/ 1214138 h 5194273"/>
                <a:gd name="connsiteX108" fmla="*/ 4798124 w 5419747"/>
                <a:gd name="connsiteY108" fmla="*/ 1164227 h 5194273"/>
                <a:gd name="connsiteX109" fmla="*/ 4765548 w 5419747"/>
                <a:gd name="connsiteY109" fmla="*/ 1115459 h 5194273"/>
                <a:gd name="connsiteX110" fmla="*/ 4731544 w 5419747"/>
                <a:gd name="connsiteY110" fmla="*/ 1067739 h 5194273"/>
                <a:gd name="connsiteX111" fmla="*/ 4409599 w 5419747"/>
                <a:gd name="connsiteY111" fmla="*/ 731792 h 5194273"/>
                <a:gd name="connsiteX112" fmla="*/ 4022027 w 5419747"/>
                <a:gd name="connsiteY112" fmla="*/ 478617 h 5194273"/>
                <a:gd name="connsiteX113" fmla="*/ 3585877 w 5419747"/>
                <a:gd name="connsiteY113" fmla="*/ 319645 h 5194273"/>
                <a:gd name="connsiteX114" fmla="*/ 3123057 w 5419747"/>
                <a:gd name="connsiteY114" fmla="*/ 253732 h 5194273"/>
                <a:gd name="connsiteX115" fmla="*/ 2654046 w 5419747"/>
                <a:gd name="connsiteY115" fmla="*/ 270496 h 5194273"/>
                <a:gd name="connsiteX116" fmla="*/ 2193703 w 5419747"/>
                <a:gd name="connsiteY116" fmla="*/ 367270 h 5194273"/>
                <a:gd name="connsiteX117" fmla="*/ 1753362 w 5419747"/>
                <a:gd name="connsiteY117" fmla="*/ 535672 h 5194273"/>
                <a:gd name="connsiteX118" fmla="*/ 966502 w 5419747"/>
                <a:gd name="connsiteY118" fmla="*/ 1053070 h 5194273"/>
                <a:gd name="connsiteX119" fmla="*/ 644843 w 5419747"/>
                <a:gd name="connsiteY119" fmla="*/ 1398351 h 5194273"/>
                <a:gd name="connsiteX120" fmla="*/ 390525 w 5419747"/>
                <a:gd name="connsiteY120" fmla="*/ 1794877 h 5194273"/>
                <a:gd name="connsiteX121" fmla="*/ 217932 w 5419747"/>
                <a:gd name="connsiteY121" fmla="*/ 2233218 h 5194273"/>
                <a:gd name="connsiteX122" fmla="*/ 155162 w 5419747"/>
                <a:gd name="connsiteY122" fmla="*/ 2700514 h 519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419747" h="5194273">
                  <a:moveTo>
                    <a:pt x="0" y="2700514"/>
                  </a:moveTo>
                  <a:cubicBezTo>
                    <a:pt x="476" y="2530493"/>
                    <a:pt x="18193" y="2360472"/>
                    <a:pt x="52864" y="2193498"/>
                  </a:cubicBezTo>
                  <a:cubicBezTo>
                    <a:pt x="87440" y="2026620"/>
                    <a:pt x="140399" y="1862981"/>
                    <a:pt x="211741" y="1707723"/>
                  </a:cubicBezTo>
                  <a:cubicBezTo>
                    <a:pt x="355092" y="1397208"/>
                    <a:pt x="562832" y="1119364"/>
                    <a:pt x="807434" y="882763"/>
                  </a:cubicBezTo>
                  <a:cubicBezTo>
                    <a:pt x="930021" y="764463"/>
                    <a:pt x="1062514" y="656544"/>
                    <a:pt x="1202436" y="559580"/>
                  </a:cubicBezTo>
                  <a:cubicBezTo>
                    <a:pt x="1342549" y="462711"/>
                    <a:pt x="1489996" y="376414"/>
                    <a:pt x="1643920" y="302976"/>
                  </a:cubicBezTo>
                  <a:cubicBezTo>
                    <a:pt x="1952149" y="157149"/>
                    <a:pt x="2284000" y="60756"/>
                    <a:pt x="2623947" y="19989"/>
                  </a:cubicBezTo>
                  <a:cubicBezTo>
                    <a:pt x="2793873" y="-109"/>
                    <a:pt x="2966276" y="-4967"/>
                    <a:pt x="3136868" y="5034"/>
                  </a:cubicBezTo>
                  <a:cubicBezTo>
                    <a:pt x="3307747" y="15417"/>
                    <a:pt x="3478530" y="40848"/>
                    <a:pt x="3645408" y="83997"/>
                  </a:cubicBezTo>
                  <a:cubicBezTo>
                    <a:pt x="3812286" y="127050"/>
                    <a:pt x="3975259" y="188010"/>
                    <a:pt x="4129278" y="267258"/>
                  </a:cubicBezTo>
                  <a:cubicBezTo>
                    <a:pt x="4283107" y="346506"/>
                    <a:pt x="4428744" y="443375"/>
                    <a:pt x="4557998" y="558627"/>
                  </a:cubicBezTo>
                  <a:cubicBezTo>
                    <a:pt x="4687348" y="673785"/>
                    <a:pt x="4801076" y="804944"/>
                    <a:pt x="4900803" y="944676"/>
                  </a:cubicBezTo>
                  <a:lnTo>
                    <a:pt x="4937760" y="997444"/>
                  </a:lnTo>
                  <a:lnTo>
                    <a:pt x="4973193" y="1051165"/>
                  </a:lnTo>
                  <a:cubicBezTo>
                    <a:pt x="4984623" y="1069263"/>
                    <a:pt x="4996339" y="1087265"/>
                    <a:pt x="5007578" y="1105458"/>
                  </a:cubicBezTo>
                  <a:lnTo>
                    <a:pt x="5040726" y="1160512"/>
                  </a:lnTo>
                  <a:cubicBezTo>
                    <a:pt x="5084064" y="1234426"/>
                    <a:pt x="5124926" y="1309769"/>
                    <a:pt x="5161788" y="1387017"/>
                  </a:cubicBezTo>
                  <a:cubicBezTo>
                    <a:pt x="5235702" y="1541512"/>
                    <a:pt x="5292661" y="1704104"/>
                    <a:pt x="5327523" y="1870887"/>
                  </a:cubicBezTo>
                  <a:cubicBezTo>
                    <a:pt x="5344859" y="1954326"/>
                    <a:pt x="5356955" y="2038431"/>
                    <a:pt x="5366385" y="2122632"/>
                  </a:cubicBezTo>
                  <a:cubicBezTo>
                    <a:pt x="5376005" y="2206738"/>
                    <a:pt x="5383720" y="2290749"/>
                    <a:pt x="5391626" y="2374569"/>
                  </a:cubicBezTo>
                  <a:cubicBezTo>
                    <a:pt x="5399152" y="2458484"/>
                    <a:pt x="5405819" y="2542399"/>
                    <a:pt x="5411724" y="2626505"/>
                  </a:cubicBezTo>
                  <a:lnTo>
                    <a:pt x="5415820" y="2689656"/>
                  </a:lnTo>
                  <a:cubicBezTo>
                    <a:pt x="5416582" y="2700038"/>
                    <a:pt x="5417058" y="2711182"/>
                    <a:pt x="5417630" y="2722136"/>
                  </a:cubicBezTo>
                  <a:cubicBezTo>
                    <a:pt x="5418202" y="2733090"/>
                    <a:pt x="5418773" y="2744139"/>
                    <a:pt x="5418963" y="2755188"/>
                  </a:cubicBezTo>
                  <a:cubicBezTo>
                    <a:pt x="5420392" y="2799289"/>
                    <a:pt x="5419916" y="2843770"/>
                    <a:pt x="5417153" y="2888347"/>
                  </a:cubicBezTo>
                  <a:cubicBezTo>
                    <a:pt x="5406867" y="3066750"/>
                    <a:pt x="5358956" y="3246487"/>
                    <a:pt x="5281517" y="3411365"/>
                  </a:cubicBezTo>
                  <a:cubicBezTo>
                    <a:pt x="5204270" y="3576719"/>
                    <a:pt x="5097780" y="3725118"/>
                    <a:pt x="4980052" y="3855516"/>
                  </a:cubicBezTo>
                  <a:cubicBezTo>
                    <a:pt x="4921186" y="3920952"/>
                    <a:pt x="4859369" y="3982293"/>
                    <a:pt x="4796314" y="4040682"/>
                  </a:cubicBezTo>
                  <a:cubicBezTo>
                    <a:pt x="4733258" y="4099070"/>
                    <a:pt x="4669346" y="4155267"/>
                    <a:pt x="4604766" y="4208989"/>
                  </a:cubicBezTo>
                  <a:cubicBezTo>
                    <a:pt x="4475893" y="4316907"/>
                    <a:pt x="4344162" y="4415300"/>
                    <a:pt x="4215670" y="4512265"/>
                  </a:cubicBezTo>
                  <a:lnTo>
                    <a:pt x="4117753" y="4586274"/>
                  </a:lnTo>
                  <a:cubicBezTo>
                    <a:pt x="4084606" y="4611134"/>
                    <a:pt x="4051173" y="4636185"/>
                    <a:pt x="4017169" y="4660759"/>
                  </a:cubicBezTo>
                  <a:cubicBezTo>
                    <a:pt x="3983260" y="4685429"/>
                    <a:pt x="3948970" y="4710003"/>
                    <a:pt x="3914108" y="4734292"/>
                  </a:cubicBezTo>
                  <a:cubicBezTo>
                    <a:pt x="3879152" y="4758390"/>
                    <a:pt x="3843909" y="4782298"/>
                    <a:pt x="3807809" y="4805730"/>
                  </a:cubicBezTo>
                  <a:cubicBezTo>
                    <a:pt x="3735991" y="4852688"/>
                    <a:pt x="3661886" y="4898218"/>
                    <a:pt x="3584639" y="4939842"/>
                  </a:cubicBezTo>
                  <a:cubicBezTo>
                    <a:pt x="3507486" y="4981656"/>
                    <a:pt x="3427666" y="5020518"/>
                    <a:pt x="3344609" y="5053856"/>
                  </a:cubicBezTo>
                  <a:cubicBezTo>
                    <a:pt x="3179255" y="5121484"/>
                    <a:pt x="3001613" y="5167108"/>
                    <a:pt x="2822258" y="5185015"/>
                  </a:cubicBezTo>
                  <a:cubicBezTo>
                    <a:pt x="2777395" y="5189302"/>
                    <a:pt x="2732532" y="5192540"/>
                    <a:pt x="2687765" y="5193493"/>
                  </a:cubicBezTo>
                  <a:lnTo>
                    <a:pt x="2654141" y="5194254"/>
                  </a:lnTo>
                  <a:cubicBezTo>
                    <a:pt x="2642997" y="5194350"/>
                    <a:pt x="2631758" y="5194064"/>
                    <a:pt x="2620613" y="5194064"/>
                  </a:cubicBezTo>
                  <a:lnTo>
                    <a:pt x="2587181" y="5193683"/>
                  </a:lnTo>
                  <a:lnTo>
                    <a:pt x="2554700" y="5192445"/>
                  </a:lnTo>
                  <a:cubicBezTo>
                    <a:pt x="2468213" y="5189683"/>
                    <a:pt x="2381536" y="5182824"/>
                    <a:pt x="2295239" y="5171776"/>
                  </a:cubicBezTo>
                  <a:cubicBezTo>
                    <a:pt x="2208848" y="5161298"/>
                    <a:pt x="2122646" y="5146249"/>
                    <a:pt x="2037398" y="5126246"/>
                  </a:cubicBezTo>
                  <a:cubicBezTo>
                    <a:pt x="1952244" y="5106053"/>
                    <a:pt x="1867757" y="5082146"/>
                    <a:pt x="1784128" y="5054904"/>
                  </a:cubicBezTo>
                  <a:cubicBezTo>
                    <a:pt x="1617155" y="4999945"/>
                    <a:pt x="1452086" y="4931555"/>
                    <a:pt x="1299305" y="4840401"/>
                  </a:cubicBezTo>
                  <a:cubicBezTo>
                    <a:pt x="1146429" y="4749437"/>
                    <a:pt x="1009936" y="4634089"/>
                    <a:pt x="890683" y="4506454"/>
                  </a:cubicBezTo>
                  <a:cubicBezTo>
                    <a:pt x="830771" y="4442732"/>
                    <a:pt x="776288" y="4374914"/>
                    <a:pt x="725043" y="4305477"/>
                  </a:cubicBezTo>
                  <a:cubicBezTo>
                    <a:pt x="674084" y="4235754"/>
                    <a:pt x="625602" y="4164983"/>
                    <a:pt x="580358" y="4092688"/>
                  </a:cubicBezTo>
                  <a:cubicBezTo>
                    <a:pt x="568738" y="4074781"/>
                    <a:pt x="557784" y="4056589"/>
                    <a:pt x="546545" y="4038491"/>
                  </a:cubicBezTo>
                  <a:lnTo>
                    <a:pt x="514255" y="3985913"/>
                  </a:lnTo>
                  <a:cubicBezTo>
                    <a:pt x="493586" y="3951909"/>
                    <a:pt x="472154" y="3918190"/>
                    <a:pt x="450533" y="3883995"/>
                  </a:cubicBezTo>
                  <a:lnTo>
                    <a:pt x="318516" y="3675779"/>
                  </a:lnTo>
                  <a:cubicBezTo>
                    <a:pt x="274225" y="3604818"/>
                    <a:pt x="230505" y="3531761"/>
                    <a:pt x="189643" y="3455656"/>
                  </a:cubicBezTo>
                  <a:cubicBezTo>
                    <a:pt x="169259" y="3417556"/>
                    <a:pt x="149543" y="3378789"/>
                    <a:pt x="131540" y="3338975"/>
                  </a:cubicBezTo>
                  <a:cubicBezTo>
                    <a:pt x="113633" y="3299065"/>
                    <a:pt x="96965" y="3258393"/>
                    <a:pt x="82201" y="3216864"/>
                  </a:cubicBezTo>
                  <a:cubicBezTo>
                    <a:pt x="67723" y="3175240"/>
                    <a:pt x="54864" y="3133044"/>
                    <a:pt x="44387" y="3090182"/>
                  </a:cubicBezTo>
                  <a:cubicBezTo>
                    <a:pt x="39434" y="3068751"/>
                    <a:pt x="34385" y="3047224"/>
                    <a:pt x="30289" y="3025602"/>
                  </a:cubicBezTo>
                  <a:lnTo>
                    <a:pt x="24098" y="2993217"/>
                  </a:lnTo>
                  <a:lnTo>
                    <a:pt x="18955" y="2960737"/>
                  </a:lnTo>
                  <a:cubicBezTo>
                    <a:pt x="5620" y="2874060"/>
                    <a:pt x="0" y="2786906"/>
                    <a:pt x="0" y="2700514"/>
                  </a:cubicBezTo>
                  <a:close/>
                  <a:moveTo>
                    <a:pt x="155162" y="2700514"/>
                  </a:moveTo>
                  <a:cubicBezTo>
                    <a:pt x="156019" y="2778048"/>
                    <a:pt x="163640" y="2855010"/>
                    <a:pt x="181642" y="2929305"/>
                  </a:cubicBezTo>
                  <a:cubicBezTo>
                    <a:pt x="199358" y="3003695"/>
                    <a:pt x="226886" y="3074847"/>
                    <a:pt x="259842" y="3143331"/>
                  </a:cubicBezTo>
                  <a:cubicBezTo>
                    <a:pt x="276511" y="3177526"/>
                    <a:pt x="294989" y="3211054"/>
                    <a:pt x="314420" y="3244106"/>
                  </a:cubicBezTo>
                  <a:cubicBezTo>
                    <a:pt x="334137" y="3277063"/>
                    <a:pt x="355187" y="3309543"/>
                    <a:pt x="377095" y="3341642"/>
                  </a:cubicBezTo>
                  <a:cubicBezTo>
                    <a:pt x="421481" y="3405650"/>
                    <a:pt x="470821" y="3467753"/>
                    <a:pt x="521875" y="3530142"/>
                  </a:cubicBezTo>
                  <a:cubicBezTo>
                    <a:pt x="572929" y="3592626"/>
                    <a:pt x="626269" y="3655110"/>
                    <a:pt x="678561" y="3720070"/>
                  </a:cubicBezTo>
                  <a:cubicBezTo>
                    <a:pt x="704755" y="3752455"/>
                    <a:pt x="730663" y="3785602"/>
                    <a:pt x="756476" y="3819225"/>
                  </a:cubicBezTo>
                  <a:lnTo>
                    <a:pt x="793909" y="3867898"/>
                  </a:lnTo>
                  <a:cubicBezTo>
                    <a:pt x="806196" y="3883424"/>
                    <a:pt x="817912" y="3899331"/>
                    <a:pt x="830580" y="3914475"/>
                  </a:cubicBezTo>
                  <a:cubicBezTo>
                    <a:pt x="929450" y="4037729"/>
                    <a:pt x="1036701" y="4151172"/>
                    <a:pt x="1145667" y="4258709"/>
                  </a:cubicBezTo>
                  <a:cubicBezTo>
                    <a:pt x="1200436" y="4312240"/>
                    <a:pt x="1256157" y="4363960"/>
                    <a:pt x="1313212" y="4413585"/>
                  </a:cubicBezTo>
                  <a:cubicBezTo>
                    <a:pt x="1370267" y="4463211"/>
                    <a:pt x="1428369" y="4511217"/>
                    <a:pt x="1488662" y="4556365"/>
                  </a:cubicBezTo>
                  <a:cubicBezTo>
                    <a:pt x="1608773" y="4646853"/>
                    <a:pt x="1738313" y="4727720"/>
                    <a:pt x="1880616" y="4782203"/>
                  </a:cubicBezTo>
                  <a:cubicBezTo>
                    <a:pt x="1951577" y="4809445"/>
                    <a:pt x="2025110" y="4830304"/>
                    <a:pt x="2099882" y="4846020"/>
                  </a:cubicBezTo>
                  <a:cubicBezTo>
                    <a:pt x="2118646" y="4849735"/>
                    <a:pt x="2137220" y="4854022"/>
                    <a:pt x="2156079" y="4857260"/>
                  </a:cubicBezTo>
                  <a:lnTo>
                    <a:pt x="2212753" y="4866690"/>
                  </a:lnTo>
                  <a:cubicBezTo>
                    <a:pt x="2250758" y="4871738"/>
                    <a:pt x="2288762" y="4877072"/>
                    <a:pt x="2327148" y="4880215"/>
                  </a:cubicBezTo>
                  <a:cubicBezTo>
                    <a:pt x="2346293" y="4882025"/>
                    <a:pt x="2365439" y="4883740"/>
                    <a:pt x="2384679" y="4884597"/>
                  </a:cubicBezTo>
                  <a:cubicBezTo>
                    <a:pt x="2403920" y="4885549"/>
                    <a:pt x="2423065" y="4887073"/>
                    <a:pt x="2442401" y="4887645"/>
                  </a:cubicBezTo>
                  <a:lnTo>
                    <a:pt x="2500313" y="4888978"/>
                  </a:lnTo>
                  <a:cubicBezTo>
                    <a:pt x="2519553" y="4889454"/>
                    <a:pt x="2538984" y="4888788"/>
                    <a:pt x="2558320" y="4888693"/>
                  </a:cubicBezTo>
                  <a:lnTo>
                    <a:pt x="2587371" y="4888407"/>
                  </a:lnTo>
                  <a:cubicBezTo>
                    <a:pt x="2596801" y="4888121"/>
                    <a:pt x="2606040" y="4887549"/>
                    <a:pt x="2615374" y="4887168"/>
                  </a:cubicBezTo>
                  <a:cubicBezTo>
                    <a:pt x="2624709" y="4886692"/>
                    <a:pt x="2634044" y="4886406"/>
                    <a:pt x="2643283" y="4885740"/>
                  </a:cubicBezTo>
                  <a:lnTo>
                    <a:pt x="2671096" y="4883454"/>
                  </a:lnTo>
                  <a:cubicBezTo>
                    <a:pt x="2708148" y="4880501"/>
                    <a:pt x="2744915" y="4875548"/>
                    <a:pt x="2781395" y="4869833"/>
                  </a:cubicBezTo>
                  <a:cubicBezTo>
                    <a:pt x="2927414" y="4845640"/>
                    <a:pt x="3067812" y="4798300"/>
                    <a:pt x="3201543" y="4731911"/>
                  </a:cubicBezTo>
                  <a:cubicBezTo>
                    <a:pt x="3335750" y="4666284"/>
                    <a:pt x="3463481" y="4582273"/>
                    <a:pt x="3589687" y="4490071"/>
                  </a:cubicBezTo>
                  <a:cubicBezTo>
                    <a:pt x="3621215" y="4467116"/>
                    <a:pt x="3652552" y="4443208"/>
                    <a:pt x="3683794" y="4419015"/>
                  </a:cubicBezTo>
                  <a:cubicBezTo>
                    <a:pt x="3715226" y="4394917"/>
                    <a:pt x="3746564" y="4370437"/>
                    <a:pt x="3777901" y="4345577"/>
                  </a:cubicBezTo>
                  <a:lnTo>
                    <a:pt x="3968496" y="4193177"/>
                  </a:lnTo>
                  <a:cubicBezTo>
                    <a:pt x="4099274" y="4089450"/>
                    <a:pt x="4231291" y="3992866"/>
                    <a:pt x="4360259" y="3898188"/>
                  </a:cubicBezTo>
                  <a:cubicBezTo>
                    <a:pt x="4489133" y="3803509"/>
                    <a:pt x="4613148" y="3707878"/>
                    <a:pt x="4725257" y="3604818"/>
                  </a:cubicBezTo>
                  <a:cubicBezTo>
                    <a:pt x="4837367" y="3501948"/>
                    <a:pt x="4938617" y="3392315"/>
                    <a:pt x="5017103" y="3268585"/>
                  </a:cubicBezTo>
                  <a:cubicBezTo>
                    <a:pt x="5056346" y="3206768"/>
                    <a:pt x="5089874" y="3141617"/>
                    <a:pt x="5116544" y="3073132"/>
                  </a:cubicBezTo>
                  <a:cubicBezTo>
                    <a:pt x="5143405" y="3004743"/>
                    <a:pt x="5162741" y="2933115"/>
                    <a:pt x="5177124" y="2859582"/>
                  </a:cubicBezTo>
                  <a:cubicBezTo>
                    <a:pt x="5184268" y="2822815"/>
                    <a:pt x="5189982" y="2785382"/>
                    <a:pt x="5193887" y="2747568"/>
                  </a:cubicBezTo>
                  <a:cubicBezTo>
                    <a:pt x="5195030" y="2738138"/>
                    <a:pt x="5195792" y="2728613"/>
                    <a:pt x="5196650" y="2719183"/>
                  </a:cubicBezTo>
                  <a:cubicBezTo>
                    <a:pt x="5197411" y="2709658"/>
                    <a:pt x="5198364" y="2700324"/>
                    <a:pt x="5198745" y="2690227"/>
                  </a:cubicBezTo>
                  <a:lnTo>
                    <a:pt x="5201793" y="2630410"/>
                  </a:lnTo>
                  <a:cubicBezTo>
                    <a:pt x="5204555" y="2550591"/>
                    <a:pt x="5202841" y="2470676"/>
                    <a:pt x="5196555" y="2391238"/>
                  </a:cubicBezTo>
                  <a:cubicBezTo>
                    <a:pt x="5190458" y="2311704"/>
                    <a:pt x="5178743" y="2232837"/>
                    <a:pt x="5162931" y="2155017"/>
                  </a:cubicBezTo>
                  <a:cubicBezTo>
                    <a:pt x="5146929" y="2077198"/>
                    <a:pt x="5126927" y="2000427"/>
                    <a:pt x="5105876" y="1924512"/>
                  </a:cubicBezTo>
                  <a:cubicBezTo>
                    <a:pt x="5063871" y="1772589"/>
                    <a:pt x="5017485" y="1622665"/>
                    <a:pt x="4958525" y="1477314"/>
                  </a:cubicBezTo>
                  <a:cubicBezTo>
                    <a:pt x="4928997" y="1404733"/>
                    <a:pt x="4896041" y="1333486"/>
                    <a:pt x="4858131" y="1265001"/>
                  </a:cubicBezTo>
                  <a:cubicBezTo>
                    <a:pt x="4848892" y="1247761"/>
                    <a:pt x="4838700" y="1230997"/>
                    <a:pt x="4828890" y="1214138"/>
                  </a:cubicBezTo>
                  <a:cubicBezTo>
                    <a:pt x="4818793" y="1197374"/>
                    <a:pt x="4808315" y="1180896"/>
                    <a:pt x="4798124" y="1164227"/>
                  </a:cubicBezTo>
                  <a:lnTo>
                    <a:pt x="4765548" y="1115459"/>
                  </a:lnTo>
                  <a:lnTo>
                    <a:pt x="4731544" y="1067739"/>
                  </a:lnTo>
                  <a:cubicBezTo>
                    <a:pt x="4638485" y="942294"/>
                    <a:pt x="4529233" y="830090"/>
                    <a:pt x="4409599" y="731792"/>
                  </a:cubicBezTo>
                  <a:cubicBezTo>
                    <a:pt x="4290251" y="633208"/>
                    <a:pt x="4160615" y="547483"/>
                    <a:pt x="4022027" y="478617"/>
                  </a:cubicBezTo>
                  <a:cubicBezTo>
                    <a:pt x="3883533" y="409561"/>
                    <a:pt x="3736943" y="356602"/>
                    <a:pt x="3585877" y="319645"/>
                  </a:cubicBezTo>
                  <a:cubicBezTo>
                    <a:pt x="3434810" y="282593"/>
                    <a:pt x="3279553" y="261257"/>
                    <a:pt x="3123057" y="253732"/>
                  </a:cubicBezTo>
                  <a:cubicBezTo>
                    <a:pt x="2966276" y="245826"/>
                    <a:pt x="2809685" y="251065"/>
                    <a:pt x="2654046" y="270496"/>
                  </a:cubicBezTo>
                  <a:cubicBezTo>
                    <a:pt x="2498503" y="290022"/>
                    <a:pt x="2344388" y="322693"/>
                    <a:pt x="2193703" y="367270"/>
                  </a:cubicBezTo>
                  <a:cubicBezTo>
                    <a:pt x="2042922" y="411657"/>
                    <a:pt x="1895856" y="469092"/>
                    <a:pt x="1753362" y="535672"/>
                  </a:cubicBezTo>
                  <a:cubicBezTo>
                    <a:pt x="1467517" y="667403"/>
                    <a:pt x="1200626" y="842091"/>
                    <a:pt x="966502" y="1053070"/>
                  </a:cubicBezTo>
                  <a:cubicBezTo>
                    <a:pt x="849821" y="1158893"/>
                    <a:pt x="741712" y="1274336"/>
                    <a:pt x="644843" y="1398351"/>
                  </a:cubicBezTo>
                  <a:cubicBezTo>
                    <a:pt x="547783" y="1522176"/>
                    <a:pt x="462153" y="1654955"/>
                    <a:pt x="390525" y="1794877"/>
                  </a:cubicBezTo>
                  <a:cubicBezTo>
                    <a:pt x="318897" y="1934704"/>
                    <a:pt x="259271" y="2081103"/>
                    <a:pt x="217932" y="2233218"/>
                  </a:cubicBezTo>
                  <a:cubicBezTo>
                    <a:pt x="176594" y="2384951"/>
                    <a:pt x="155067" y="2542685"/>
                    <a:pt x="155162" y="2700514"/>
                  </a:cubicBezTo>
                  <a:close/>
                </a:path>
              </a:pathLst>
            </a:custGeom>
            <a:solidFill>
              <a:schemeClr val="bg1">
                <a:alpha val="30000"/>
              </a:schemeClr>
            </a:solidFill>
            <a:ln w="9525" cap="flat">
              <a:noFill/>
              <a:prstDash val="solid"/>
              <a:miter/>
            </a:ln>
          </p:spPr>
          <p:txBody>
            <a:bodyPr rtlCol="0" anchor="ctr"/>
            <a:lstStyle/>
            <a:p>
              <a:endParaRPr lang="en-US"/>
            </a:p>
          </p:txBody>
        </p:sp>
        <p:sp useBgFill="1">
          <p:nvSpPr>
            <p:cNvPr id="76" name="Freeform: Shape 68">
              <a:extLst>
                <a:ext uri="{FF2B5EF4-FFF2-40B4-BE49-F238E27FC236}">
                  <a16:creationId xmlns:a16="http://schemas.microsoft.com/office/drawing/2014/main" id="{CEB03A9B-C442-4C27-B070-BB3AEBBAC5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5639352" y="2502393"/>
              <a:ext cx="3490075" cy="3464887"/>
            </a:xfrm>
            <a:custGeom>
              <a:avLst/>
              <a:gdLst>
                <a:gd name="connsiteX0" fmla="*/ 2733675 w 5467350"/>
                <a:gd name="connsiteY0" fmla="*/ 0 h 5467350"/>
                <a:gd name="connsiteX1" fmla="*/ 0 w 5467350"/>
                <a:gd name="connsiteY1" fmla="*/ 2733675 h 5467350"/>
                <a:gd name="connsiteX2" fmla="*/ 2733675 w 5467350"/>
                <a:gd name="connsiteY2" fmla="*/ 5467350 h 5467350"/>
                <a:gd name="connsiteX3" fmla="*/ 5467350 w 5467350"/>
                <a:gd name="connsiteY3" fmla="*/ 2733675 h 5467350"/>
                <a:gd name="connsiteX4" fmla="*/ 2733675 w 5467350"/>
                <a:gd name="connsiteY4" fmla="*/ 0 h 5467350"/>
                <a:gd name="connsiteX5" fmla="*/ 4922615 w 5467350"/>
                <a:gd name="connsiteY5" fmla="*/ 1317212 h 5467350"/>
                <a:gd name="connsiteX6" fmla="*/ 4979765 w 5467350"/>
                <a:gd name="connsiteY6" fmla="*/ 1430941 h 5467350"/>
                <a:gd name="connsiteX7" fmla="*/ 5031105 w 5467350"/>
                <a:gd name="connsiteY7" fmla="*/ 1547146 h 5467350"/>
                <a:gd name="connsiteX8" fmla="*/ 5185029 w 5467350"/>
                <a:gd name="connsiteY8" fmla="*/ 2031873 h 5467350"/>
                <a:gd name="connsiteX9" fmla="*/ 5261610 w 5467350"/>
                <a:gd name="connsiteY9" fmla="*/ 2535079 h 5467350"/>
                <a:gd name="connsiteX10" fmla="*/ 5274183 w 5467350"/>
                <a:gd name="connsiteY10" fmla="*/ 2789206 h 5467350"/>
                <a:gd name="connsiteX11" fmla="*/ 5274755 w 5467350"/>
                <a:gd name="connsiteY11" fmla="*/ 2834831 h 5467350"/>
                <a:gd name="connsiteX12" fmla="*/ 5274850 w 5467350"/>
                <a:gd name="connsiteY12" fmla="*/ 2853023 h 5467350"/>
                <a:gd name="connsiteX13" fmla="*/ 5274564 w 5467350"/>
                <a:gd name="connsiteY13" fmla="*/ 2910554 h 5467350"/>
                <a:gd name="connsiteX14" fmla="*/ 5274469 w 5467350"/>
                <a:gd name="connsiteY14" fmla="*/ 2915222 h 5467350"/>
                <a:gd name="connsiteX15" fmla="*/ 5267325 w 5467350"/>
                <a:gd name="connsiteY15" fmla="*/ 3035713 h 5467350"/>
                <a:gd name="connsiteX16" fmla="*/ 5141119 w 5467350"/>
                <a:gd name="connsiteY16" fmla="*/ 3487674 h 5467350"/>
                <a:gd name="connsiteX17" fmla="*/ 5020342 w 5467350"/>
                <a:gd name="connsiteY17" fmla="*/ 3689509 h 5467350"/>
                <a:gd name="connsiteX18" fmla="*/ 4867656 w 5467350"/>
                <a:gd name="connsiteY18" fmla="*/ 3874865 h 5467350"/>
                <a:gd name="connsiteX19" fmla="*/ 4498467 w 5467350"/>
                <a:gd name="connsiteY19" fmla="*/ 4210907 h 5467350"/>
                <a:gd name="connsiteX20" fmla="*/ 4260723 w 5467350"/>
                <a:gd name="connsiteY20" fmla="*/ 4398359 h 5467350"/>
                <a:gd name="connsiteX21" fmla="*/ 4088130 w 5467350"/>
                <a:gd name="connsiteY21" fmla="*/ 4533519 h 5467350"/>
                <a:gd name="connsiteX22" fmla="*/ 3985736 w 5467350"/>
                <a:gd name="connsiteY22" fmla="*/ 4615434 h 5467350"/>
                <a:gd name="connsiteX23" fmla="*/ 3885343 w 5467350"/>
                <a:gd name="connsiteY23" fmla="*/ 4693730 h 5467350"/>
                <a:gd name="connsiteX24" fmla="*/ 3681984 w 5467350"/>
                <a:gd name="connsiteY24" fmla="*/ 4841463 h 5467350"/>
                <a:gd name="connsiteX25" fmla="*/ 3473958 w 5467350"/>
                <a:gd name="connsiteY25" fmla="*/ 4971383 h 5467350"/>
                <a:gd name="connsiteX26" fmla="*/ 3259550 w 5467350"/>
                <a:gd name="connsiteY26" fmla="*/ 5077683 h 5467350"/>
                <a:gd name="connsiteX27" fmla="*/ 2808065 w 5467350"/>
                <a:gd name="connsiteY27" fmla="*/ 5199698 h 5467350"/>
                <a:gd name="connsiteX28" fmla="*/ 2691289 w 5467350"/>
                <a:gd name="connsiteY28" fmla="*/ 5209889 h 5467350"/>
                <a:gd name="connsiteX29" fmla="*/ 2661476 w 5467350"/>
                <a:gd name="connsiteY29" fmla="*/ 5211414 h 5467350"/>
                <a:gd name="connsiteX30" fmla="*/ 2631853 w 5467350"/>
                <a:gd name="connsiteY30" fmla="*/ 5212176 h 5467350"/>
                <a:gd name="connsiteX31" fmla="*/ 2631567 w 5467350"/>
                <a:gd name="connsiteY31" fmla="*/ 5212176 h 5467350"/>
                <a:gd name="connsiteX32" fmla="*/ 2631281 w 5467350"/>
                <a:gd name="connsiteY32" fmla="*/ 5212176 h 5467350"/>
                <a:gd name="connsiteX33" fmla="*/ 2599754 w 5467350"/>
                <a:gd name="connsiteY33" fmla="*/ 5212652 h 5467350"/>
                <a:gd name="connsiteX34" fmla="*/ 2583561 w 5467350"/>
                <a:gd name="connsiteY34" fmla="*/ 5212556 h 5467350"/>
                <a:gd name="connsiteX35" fmla="*/ 2571274 w 5467350"/>
                <a:gd name="connsiteY35" fmla="*/ 5212556 h 5467350"/>
                <a:gd name="connsiteX36" fmla="*/ 2326577 w 5467350"/>
                <a:gd name="connsiteY36" fmla="*/ 5201889 h 5467350"/>
                <a:gd name="connsiteX37" fmla="*/ 2208371 w 5467350"/>
                <a:gd name="connsiteY37" fmla="*/ 5188458 h 5467350"/>
                <a:gd name="connsiteX38" fmla="*/ 2090642 w 5467350"/>
                <a:gd name="connsiteY38" fmla="*/ 5168646 h 5467350"/>
                <a:gd name="connsiteX39" fmla="*/ 1858613 w 5467350"/>
                <a:gd name="connsiteY39" fmla="*/ 5108544 h 5467350"/>
                <a:gd name="connsiteX40" fmla="*/ 1636395 w 5467350"/>
                <a:gd name="connsiteY40" fmla="*/ 5021676 h 5467350"/>
                <a:gd name="connsiteX41" fmla="*/ 1636205 w 5467350"/>
                <a:gd name="connsiteY41" fmla="*/ 5021580 h 5467350"/>
                <a:gd name="connsiteX42" fmla="*/ 1636014 w 5467350"/>
                <a:gd name="connsiteY42" fmla="*/ 5021485 h 5467350"/>
                <a:gd name="connsiteX43" fmla="*/ 1425512 w 5467350"/>
                <a:gd name="connsiteY43" fmla="*/ 4906518 h 5467350"/>
                <a:gd name="connsiteX44" fmla="*/ 1043273 w 5467350"/>
                <a:gd name="connsiteY44" fmla="*/ 4599528 h 5467350"/>
                <a:gd name="connsiteX45" fmla="*/ 872395 w 5467350"/>
                <a:gd name="connsiteY45" fmla="*/ 4414933 h 5467350"/>
                <a:gd name="connsiteX46" fmla="*/ 797909 w 5467350"/>
                <a:gd name="connsiteY46" fmla="*/ 4324636 h 5467350"/>
                <a:gd name="connsiteX47" fmla="*/ 791623 w 5467350"/>
                <a:gd name="connsiteY47" fmla="*/ 4316825 h 5467350"/>
                <a:gd name="connsiteX48" fmla="*/ 779145 w 5467350"/>
                <a:gd name="connsiteY48" fmla="*/ 4300728 h 5467350"/>
                <a:gd name="connsiteX49" fmla="*/ 714470 w 5467350"/>
                <a:gd name="connsiteY49" fmla="*/ 4215480 h 5467350"/>
                <a:gd name="connsiteX50" fmla="*/ 714280 w 5467350"/>
                <a:gd name="connsiteY50" fmla="*/ 4215289 h 5467350"/>
                <a:gd name="connsiteX51" fmla="*/ 714089 w 5467350"/>
                <a:gd name="connsiteY51" fmla="*/ 4215098 h 5467350"/>
                <a:gd name="connsiteX52" fmla="*/ 677132 w 5467350"/>
                <a:gd name="connsiteY52" fmla="*/ 4164806 h 5467350"/>
                <a:gd name="connsiteX53" fmla="*/ 635889 w 5467350"/>
                <a:gd name="connsiteY53" fmla="*/ 4108799 h 5467350"/>
                <a:gd name="connsiteX54" fmla="*/ 555212 w 5467350"/>
                <a:gd name="connsiteY54" fmla="*/ 4003358 h 5467350"/>
                <a:gd name="connsiteX55" fmla="*/ 491395 w 5467350"/>
                <a:gd name="connsiteY55" fmla="*/ 3921538 h 5467350"/>
                <a:gd name="connsiteX56" fmla="*/ 394907 w 5467350"/>
                <a:gd name="connsiteY56" fmla="*/ 3796760 h 5467350"/>
                <a:gd name="connsiteX57" fmla="*/ 318421 w 5467350"/>
                <a:gd name="connsiteY57" fmla="*/ 3692938 h 5467350"/>
                <a:gd name="connsiteX58" fmla="*/ 247650 w 5467350"/>
                <a:gd name="connsiteY58" fmla="*/ 3587115 h 5467350"/>
                <a:gd name="connsiteX59" fmla="*/ 183833 w 5467350"/>
                <a:gd name="connsiteY59" fmla="*/ 3478054 h 5467350"/>
                <a:gd name="connsiteX60" fmla="*/ 183642 w 5467350"/>
                <a:gd name="connsiteY60" fmla="*/ 3477673 h 5467350"/>
                <a:gd name="connsiteX61" fmla="*/ 183452 w 5467350"/>
                <a:gd name="connsiteY61" fmla="*/ 3477292 h 5467350"/>
                <a:gd name="connsiteX62" fmla="*/ 161925 w 5467350"/>
                <a:gd name="connsiteY62" fmla="*/ 3435572 h 5467350"/>
                <a:gd name="connsiteX63" fmla="*/ 155067 w 5467350"/>
                <a:gd name="connsiteY63" fmla="*/ 3421761 h 5467350"/>
                <a:gd name="connsiteX64" fmla="*/ 147542 w 5467350"/>
                <a:gd name="connsiteY64" fmla="*/ 3405378 h 5467350"/>
                <a:gd name="connsiteX65" fmla="*/ 129540 w 5467350"/>
                <a:gd name="connsiteY65" fmla="*/ 3364992 h 5467350"/>
                <a:gd name="connsiteX66" fmla="*/ 129350 w 5467350"/>
                <a:gd name="connsiteY66" fmla="*/ 3364611 h 5467350"/>
                <a:gd name="connsiteX67" fmla="*/ 129159 w 5467350"/>
                <a:gd name="connsiteY67" fmla="*/ 3364230 h 5467350"/>
                <a:gd name="connsiteX68" fmla="*/ 54769 w 5467350"/>
                <a:gd name="connsiteY68" fmla="*/ 3125343 h 5467350"/>
                <a:gd name="connsiteX69" fmla="*/ 30385 w 5467350"/>
                <a:gd name="connsiteY69" fmla="*/ 2875407 h 5467350"/>
                <a:gd name="connsiteX70" fmla="*/ 89059 w 5467350"/>
                <a:gd name="connsiteY70" fmla="*/ 2368487 h 5467350"/>
                <a:gd name="connsiteX71" fmla="*/ 161544 w 5467350"/>
                <a:gd name="connsiteY71" fmla="*/ 2123885 h 5467350"/>
                <a:gd name="connsiteX72" fmla="*/ 161735 w 5467350"/>
                <a:gd name="connsiteY72" fmla="*/ 2123504 h 5467350"/>
                <a:gd name="connsiteX73" fmla="*/ 161830 w 5467350"/>
                <a:gd name="connsiteY73" fmla="*/ 2123123 h 5467350"/>
                <a:gd name="connsiteX74" fmla="*/ 175736 w 5467350"/>
                <a:gd name="connsiteY74" fmla="*/ 2085499 h 5467350"/>
                <a:gd name="connsiteX75" fmla="*/ 184118 w 5467350"/>
                <a:gd name="connsiteY75" fmla="*/ 2063496 h 5467350"/>
                <a:gd name="connsiteX76" fmla="*/ 205835 w 5467350"/>
                <a:gd name="connsiteY76" fmla="*/ 2009299 h 5467350"/>
                <a:gd name="connsiteX77" fmla="*/ 207740 w 5467350"/>
                <a:gd name="connsiteY77" fmla="*/ 2004727 h 5467350"/>
                <a:gd name="connsiteX78" fmla="*/ 220123 w 5467350"/>
                <a:gd name="connsiteY78" fmla="*/ 1975580 h 5467350"/>
                <a:gd name="connsiteX79" fmla="*/ 233267 w 5467350"/>
                <a:gd name="connsiteY79" fmla="*/ 1946529 h 5467350"/>
                <a:gd name="connsiteX80" fmla="*/ 260033 w 5467350"/>
                <a:gd name="connsiteY80" fmla="*/ 1889189 h 5467350"/>
                <a:gd name="connsiteX81" fmla="*/ 260128 w 5467350"/>
                <a:gd name="connsiteY81" fmla="*/ 1888903 h 5467350"/>
                <a:gd name="connsiteX82" fmla="*/ 260223 w 5467350"/>
                <a:gd name="connsiteY82" fmla="*/ 1888617 h 5467350"/>
                <a:gd name="connsiteX83" fmla="*/ 382238 w 5467350"/>
                <a:gd name="connsiteY83" fmla="*/ 1665446 h 5467350"/>
                <a:gd name="connsiteX84" fmla="*/ 525590 w 5467350"/>
                <a:gd name="connsiteY84" fmla="*/ 1456373 h 5467350"/>
                <a:gd name="connsiteX85" fmla="*/ 862394 w 5467350"/>
                <a:gd name="connsiteY85" fmla="*/ 1080611 h 5467350"/>
                <a:gd name="connsiteX86" fmla="*/ 1051465 w 5467350"/>
                <a:gd name="connsiteY86" fmla="*/ 914686 h 5467350"/>
                <a:gd name="connsiteX87" fmla="*/ 1100042 w 5467350"/>
                <a:gd name="connsiteY87" fmla="*/ 875919 h 5467350"/>
                <a:gd name="connsiteX88" fmla="*/ 1108424 w 5467350"/>
                <a:gd name="connsiteY88" fmla="*/ 869347 h 5467350"/>
                <a:gd name="connsiteX89" fmla="*/ 1149858 w 5467350"/>
                <a:gd name="connsiteY89" fmla="*/ 837629 h 5467350"/>
                <a:gd name="connsiteX90" fmla="*/ 1150049 w 5467350"/>
                <a:gd name="connsiteY90" fmla="*/ 837438 h 5467350"/>
                <a:gd name="connsiteX91" fmla="*/ 1150239 w 5467350"/>
                <a:gd name="connsiteY91" fmla="*/ 837248 h 5467350"/>
                <a:gd name="connsiteX92" fmla="*/ 1251204 w 5467350"/>
                <a:gd name="connsiteY92" fmla="*/ 763429 h 5467350"/>
                <a:gd name="connsiteX93" fmla="*/ 1678305 w 5467350"/>
                <a:gd name="connsiteY93" fmla="*/ 507016 h 5467350"/>
                <a:gd name="connsiteX94" fmla="*/ 1903476 w 5467350"/>
                <a:gd name="connsiteY94" fmla="*/ 402622 h 5467350"/>
                <a:gd name="connsiteX95" fmla="*/ 2135410 w 5467350"/>
                <a:gd name="connsiteY95" fmla="*/ 316325 h 5467350"/>
                <a:gd name="connsiteX96" fmla="*/ 2373059 w 5467350"/>
                <a:gd name="connsiteY96" fmla="*/ 248698 h 5467350"/>
                <a:gd name="connsiteX97" fmla="*/ 2615089 w 5467350"/>
                <a:gd name="connsiteY97" fmla="*/ 201454 h 5467350"/>
                <a:gd name="connsiteX98" fmla="*/ 3000566 w 5467350"/>
                <a:gd name="connsiteY98" fmla="*/ 172784 h 5467350"/>
                <a:gd name="connsiteX99" fmla="*/ 3107436 w 5467350"/>
                <a:gd name="connsiteY99" fmla="*/ 175069 h 5467350"/>
                <a:gd name="connsiteX100" fmla="*/ 3352229 w 5467350"/>
                <a:gd name="connsiteY100" fmla="*/ 196406 h 5467350"/>
                <a:gd name="connsiteX101" fmla="*/ 3594926 w 5467350"/>
                <a:gd name="connsiteY101" fmla="*/ 243935 h 5467350"/>
                <a:gd name="connsiteX102" fmla="*/ 4058412 w 5467350"/>
                <a:gd name="connsiteY102" fmla="*/ 423482 h 5467350"/>
                <a:gd name="connsiteX103" fmla="*/ 4270915 w 5467350"/>
                <a:gd name="connsiteY103" fmla="*/ 556165 h 5467350"/>
                <a:gd name="connsiteX104" fmla="*/ 4465225 w 5467350"/>
                <a:gd name="connsiteY104" fmla="*/ 715328 h 5467350"/>
                <a:gd name="connsiteX105" fmla="*/ 4791742 w 5467350"/>
                <a:gd name="connsiteY105" fmla="*/ 1099566 h 5467350"/>
                <a:gd name="connsiteX106" fmla="*/ 4922615 w 5467350"/>
                <a:gd name="connsiteY106" fmla="*/ 1317212 h 546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5467350" h="5467350">
                  <a:moveTo>
                    <a:pt x="2733675" y="0"/>
                  </a:moveTo>
                  <a:cubicBezTo>
                    <a:pt x="1223867" y="0"/>
                    <a:pt x="0" y="1223867"/>
                    <a:pt x="0" y="2733675"/>
                  </a:cubicBezTo>
                  <a:cubicBezTo>
                    <a:pt x="0" y="4243483"/>
                    <a:pt x="1223867" y="5467350"/>
                    <a:pt x="2733675" y="5467350"/>
                  </a:cubicBezTo>
                  <a:cubicBezTo>
                    <a:pt x="4243483" y="5467350"/>
                    <a:pt x="5467350" y="4243483"/>
                    <a:pt x="5467350" y="2733675"/>
                  </a:cubicBezTo>
                  <a:cubicBezTo>
                    <a:pt x="5467350" y="1223867"/>
                    <a:pt x="4243483" y="0"/>
                    <a:pt x="2733675" y="0"/>
                  </a:cubicBezTo>
                  <a:close/>
                  <a:moveTo>
                    <a:pt x="4922615" y="1317212"/>
                  </a:moveTo>
                  <a:cubicBezTo>
                    <a:pt x="4943189" y="1356170"/>
                    <a:pt x="4962430" y="1394365"/>
                    <a:pt x="4979765" y="1430941"/>
                  </a:cubicBezTo>
                  <a:cubicBezTo>
                    <a:pt x="4997482" y="1468755"/>
                    <a:pt x="5014817" y="1507903"/>
                    <a:pt x="5031105" y="1547146"/>
                  </a:cubicBezTo>
                  <a:cubicBezTo>
                    <a:pt x="5093875" y="1697641"/>
                    <a:pt x="5145691" y="1860709"/>
                    <a:pt x="5185029" y="2031873"/>
                  </a:cubicBezTo>
                  <a:cubicBezTo>
                    <a:pt x="5220939" y="2188464"/>
                    <a:pt x="5246656" y="2357723"/>
                    <a:pt x="5261610" y="2535079"/>
                  </a:cubicBezTo>
                  <a:cubicBezTo>
                    <a:pt x="5268278" y="2616803"/>
                    <a:pt x="5272564" y="2702338"/>
                    <a:pt x="5274183" y="2789206"/>
                  </a:cubicBezTo>
                  <a:cubicBezTo>
                    <a:pt x="5274660" y="2804541"/>
                    <a:pt x="5274755" y="2819876"/>
                    <a:pt x="5274755" y="2834831"/>
                  </a:cubicBezTo>
                  <a:cubicBezTo>
                    <a:pt x="5274755" y="2840927"/>
                    <a:pt x="5274850" y="2846928"/>
                    <a:pt x="5274850" y="2853023"/>
                  </a:cubicBezTo>
                  <a:cubicBezTo>
                    <a:pt x="5275136" y="2872740"/>
                    <a:pt x="5274850" y="2891885"/>
                    <a:pt x="5274564" y="2910554"/>
                  </a:cubicBezTo>
                  <a:lnTo>
                    <a:pt x="5274469" y="2915222"/>
                  </a:lnTo>
                  <a:cubicBezTo>
                    <a:pt x="5273421" y="2956751"/>
                    <a:pt x="5271040" y="2997422"/>
                    <a:pt x="5267325" y="3035713"/>
                  </a:cubicBezTo>
                  <a:cubicBezTo>
                    <a:pt x="5251514" y="3197066"/>
                    <a:pt x="5209032" y="3349181"/>
                    <a:pt x="5141119" y="3487674"/>
                  </a:cubicBezTo>
                  <a:cubicBezTo>
                    <a:pt x="5108639" y="3554730"/>
                    <a:pt x="5069205" y="3620643"/>
                    <a:pt x="5020342" y="3689509"/>
                  </a:cubicBezTo>
                  <a:cubicBezTo>
                    <a:pt x="4977003" y="3750088"/>
                    <a:pt x="4926997" y="3810762"/>
                    <a:pt x="4867656" y="3874865"/>
                  </a:cubicBezTo>
                  <a:cubicBezTo>
                    <a:pt x="4770215" y="3979450"/>
                    <a:pt x="4656297" y="4083177"/>
                    <a:pt x="4498467" y="4210907"/>
                  </a:cubicBezTo>
                  <a:cubicBezTo>
                    <a:pt x="4420839" y="4273773"/>
                    <a:pt x="4339400" y="4337114"/>
                    <a:pt x="4260723" y="4398359"/>
                  </a:cubicBezTo>
                  <a:cubicBezTo>
                    <a:pt x="4204240" y="4442365"/>
                    <a:pt x="4145756" y="4487799"/>
                    <a:pt x="4088130" y="4533519"/>
                  </a:cubicBezTo>
                  <a:lnTo>
                    <a:pt x="3985736" y="4615434"/>
                  </a:lnTo>
                  <a:cubicBezTo>
                    <a:pt x="3953828" y="4640675"/>
                    <a:pt x="3919442" y="4667822"/>
                    <a:pt x="3885343" y="4693730"/>
                  </a:cubicBezTo>
                  <a:cubicBezTo>
                    <a:pt x="3807619" y="4752975"/>
                    <a:pt x="3742944" y="4799933"/>
                    <a:pt x="3681984" y="4841463"/>
                  </a:cubicBezTo>
                  <a:cubicBezTo>
                    <a:pt x="3607880" y="4891945"/>
                    <a:pt x="3539871" y="4934426"/>
                    <a:pt x="3473958" y="4971383"/>
                  </a:cubicBezTo>
                  <a:cubicBezTo>
                    <a:pt x="3397377" y="5014627"/>
                    <a:pt x="3327273" y="5049393"/>
                    <a:pt x="3259550" y="5077683"/>
                  </a:cubicBezTo>
                  <a:cubicBezTo>
                    <a:pt x="3111913" y="5140071"/>
                    <a:pt x="2959989" y="5181124"/>
                    <a:pt x="2808065" y="5199698"/>
                  </a:cubicBezTo>
                  <a:cubicBezTo>
                    <a:pt x="2761298" y="5205222"/>
                    <a:pt x="2725198" y="5208365"/>
                    <a:pt x="2691289" y="5209889"/>
                  </a:cubicBezTo>
                  <a:lnTo>
                    <a:pt x="2661476" y="5211414"/>
                  </a:lnTo>
                  <a:lnTo>
                    <a:pt x="2631853" y="5212176"/>
                  </a:lnTo>
                  <a:lnTo>
                    <a:pt x="2631567" y="5212176"/>
                  </a:lnTo>
                  <a:lnTo>
                    <a:pt x="2631281" y="5212176"/>
                  </a:lnTo>
                  <a:cubicBezTo>
                    <a:pt x="2622518" y="5212556"/>
                    <a:pt x="2612803" y="5212652"/>
                    <a:pt x="2599754" y="5212652"/>
                  </a:cubicBezTo>
                  <a:cubicBezTo>
                    <a:pt x="2594324" y="5212652"/>
                    <a:pt x="2588990" y="5212652"/>
                    <a:pt x="2583561" y="5212556"/>
                  </a:cubicBezTo>
                  <a:lnTo>
                    <a:pt x="2571274" y="5212556"/>
                  </a:lnTo>
                  <a:cubicBezTo>
                    <a:pt x="2483644" y="5212366"/>
                    <a:pt x="2403634" y="5208937"/>
                    <a:pt x="2326577" y="5201889"/>
                  </a:cubicBezTo>
                  <a:cubicBezTo>
                    <a:pt x="2286286" y="5198269"/>
                    <a:pt x="2246471" y="5193793"/>
                    <a:pt x="2208371" y="5188458"/>
                  </a:cubicBezTo>
                  <a:cubicBezTo>
                    <a:pt x="2167795" y="5182743"/>
                    <a:pt x="2128076" y="5176076"/>
                    <a:pt x="2090642" y="5168646"/>
                  </a:cubicBezTo>
                  <a:cubicBezTo>
                    <a:pt x="2009299" y="5152168"/>
                    <a:pt x="1931194" y="5131880"/>
                    <a:pt x="1858613" y="5108544"/>
                  </a:cubicBezTo>
                  <a:cubicBezTo>
                    <a:pt x="1779746" y="5083207"/>
                    <a:pt x="1704975" y="5053965"/>
                    <a:pt x="1636395" y="5021676"/>
                  </a:cubicBezTo>
                  <a:lnTo>
                    <a:pt x="1636205" y="5021580"/>
                  </a:lnTo>
                  <a:lnTo>
                    <a:pt x="1636014" y="5021485"/>
                  </a:lnTo>
                  <a:cubicBezTo>
                    <a:pt x="1568577" y="4990719"/>
                    <a:pt x="1499807" y="4953096"/>
                    <a:pt x="1425512" y="4906518"/>
                  </a:cubicBezTo>
                  <a:cubicBezTo>
                    <a:pt x="1294257" y="4823556"/>
                    <a:pt x="1165574" y="4720209"/>
                    <a:pt x="1043273" y="4599528"/>
                  </a:cubicBezTo>
                  <a:cubicBezTo>
                    <a:pt x="985838" y="4542568"/>
                    <a:pt x="928307" y="4480465"/>
                    <a:pt x="872395" y="4414933"/>
                  </a:cubicBezTo>
                  <a:cubicBezTo>
                    <a:pt x="846963" y="4385501"/>
                    <a:pt x="822103" y="4354545"/>
                    <a:pt x="797909" y="4324636"/>
                  </a:cubicBezTo>
                  <a:lnTo>
                    <a:pt x="791623" y="4316825"/>
                  </a:lnTo>
                  <a:lnTo>
                    <a:pt x="779145" y="4300728"/>
                  </a:lnTo>
                  <a:cubicBezTo>
                    <a:pt x="757619" y="4272915"/>
                    <a:pt x="735330" y="4244150"/>
                    <a:pt x="714470" y="4215480"/>
                  </a:cubicBezTo>
                  <a:lnTo>
                    <a:pt x="714280" y="4215289"/>
                  </a:lnTo>
                  <a:lnTo>
                    <a:pt x="714089" y="4215098"/>
                  </a:lnTo>
                  <a:cubicBezTo>
                    <a:pt x="701993" y="4199001"/>
                    <a:pt x="689896" y="4182332"/>
                    <a:pt x="677132" y="4164806"/>
                  </a:cubicBezTo>
                  <a:cubicBezTo>
                    <a:pt x="663702" y="4146328"/>
                    <a:pt x="649796" y="4127183"/>
                    <a:pt x="635889" y="4108799"/>
                  </a:cubicBezTo>
                  <a:cubicBezTo>
                    <a:pt x="606647" y="4069842"/>
                    <a:pt x="577406" y="4032028"/>
                    <a:pt x="555212" y="4003358"/>
                  </a:cubicBezTo>
                  <a:cubicBezTo>
                    <a:pt x="534067" y="3975926"/>
                    <a:pt x="512350" y="3948303"/>
                    <a:pt x="491395" y="3921538"/>
                  </a:cubicBezTo>
                  <a:cubicBezTo>
                    <a:pt x="459486" y="3880771"/>
                    <a:pt x="426434" y="3838575"/>
                    <a:pt x="394907" y="3796760"/>
                  </a:cubicBezTo>
                  <a:cubicBezTo>
                    <a:pt x="370142" y="3763804"/>
                    <a:pt x="343853" y="3728752"/>
                    <a:pt x="318421" y="3692938"/>
                  </a:cubicBezTo>
                  <a:cubicBezTo>
                    <a:pt x="291370" y="3653981"/>
                    <a:pt x="268796" y="3620929"/>
                    <a:pt x="247650" y="3587115"/>
                  </a:cubicBezTo>
                  <a:cubicBezTo>
                    <a:pt x="220504" y="3544157"/>
                    <a:pt x="200882" y="3510534"/>
                    <a:pt x="183833" y="3478054"/>
                  </a:cubicBezTo>
                  <a:lnTo>
                    <a:pt x="183642" y="3477673"/>
                  </a:lnTo>
                  <a:lnTo>
                    <a:pt x="183452" y="3477292"/>
                  </a:lnTo>
                  <a:cubicBezTo>
                    <a:pt x="176022" y="3463766"/>
                    <a:pt x="169164" y="3450050"/>
                    <a:pt x="161925" y="3435572"/>
                  </a:cubicBezTo>
                  <a:cubicBezTo>
                    <a:pt x="159639" y="3431000"/>
                    <a:pt x="157353" y="3426428"/>
                    <a:pt x="155067" y="3421761"/>
                  </a:cubicBezTo>
                  <a:cubicBezTo>
                    <a:pt x="152591" y="3416237"/>
                    <a:pt x="150019" y="3410807"/>
                    <a:pt x="147542" y="3405378"/>
                  </a:cubicBezTo>
                  <a:cubicBezTo>
                    <a:pt x="141065" y="3391472"/>
                    <a:pt x="134969" y="3378327"/>
                    <a:pt x="129540" y="3364992"/>
                  </a:cubicBezTo>
                  <a:lnTo>
                    <a:pt x="129350" y="3364611"/>
                  </a:lnTo>
                  <a:lnTo>
                    <a:pt x="129159" y="3364230"/>
                  </a:lnTo>
                  <a:cubicBezTo>
                    <a:pt x="97155" y="3290126"/>
                    <a:pt x="72200" y="3209735"/>
                    <a:pt x="54769" y="3125343"/>
                  </a:cubicBezTo>
                  <a:cubicBezTo>
                    <a:pt x="39148" y="3045619"/>
                    <a:pt x="30956" y="2961323"/>
                    <a:pt x="30385" y="2875407"/>
                  </a:cubicBezTo>
                  <a:cubicBezTo>
                    <a:pt x="30290" y="2705576"/>
                    <a:pt x="50102" y="2534984"/>
                    <a:pt x="89059" y="2368487"/>
                  </a:cubicBezTo>
                  <a:cubicBezTo>
                    <a:pt x="107728" y="2287619"/>
                    <a:pt x="132112" y="2205323"/>
                    <a:pt x="161544" y="2123885"/>
                  </a:cubicBezTo>
                  <a:lnTo>
                    <a:pt x="161735" y="2123504"/>
                  </a:lnTo>
                  <a:lnTo>
                    <a:pt x="161830" y="2123123"/>
                  </a:lnTo>
                  <a:cubicBezTo>
                    <a:pt x="166021" y="2110740"/>
                    <a:pt x="170688" y="2098453"/>
                    <a:pt x="175736" y="2085499"/>
                  </a:cubicBezTo>
                  <a:cubicBezTo>
                    <a:pt x="178594" y="2078164"/>
                    <a:pt x="181356" y="2070830"/>
                    <a:pt x="184118" y="2063496"/>
                  </a:cubicBezTo>
                  <a:cubicBezTo>
                    <a:pt x="190786" y="2045494"/>
                    <a:pt x="198120" y="2027873"/>
                    <a:pt x="205835" y="2009299"/>
                  </a:cubicBezTo>
                  <a:lnTo>
                    <a:pt x="207740" y="2004727"/>
                  </a:lnTo>
                  <a:lnTo>
                    <a:pt x="220123" y="1975580"/>
                  </a:lnTo>
                  <a:lnTo>
                    <a:pt x="233267" y="1946529"/>
                  </a:lnTo>
                  <a:cubicBezTo>
                    <a:pt x="240983" y="1929289"/>
                    <a:pt x="250127" y="1909096"/>
                    <a:pt x="260033" y="1889189"/>
                  </a:cubicBezTo>
                  <a:lnTo>
                    <a:pt x="260128" y="1888903"/>
                  </a:lnTo>
                  <a:lnTo>
                    <a:pt x="260223" y="1888617"/>
                  </a:lnTo>
                  <a:cubicBezTo>
                    <a:pt x="293751" y="1818513"/>
                    <a:pt x="333661" y="1745552"/>
                    <a:pt x="382238" y="1665446"/>
                  </a:cubicBezTo>
                  <a:cubicBezTo>
                    <a:pt x="425577" y="1595533"/>
                    <a:pt x="473869" y="1525143"/>
                    <a:pt x="525590" y="1456373"/>
                  </a:cubicBezTo>
                  <a:cubicBezTo>
                    <a:pt x="625507" y="1323594"/>
                    <a:pt x="738759" y="1197197"/>
                    <a:pt x="862394" y="1080611"/>
                  </a:cubicBezTo>
                  <a:cubicBezTo>
                    <a:pt x="919163" y="1026700"/>
                    <a:pt x="980980" y="972407"/>
                    <a:pt x="1051465" y="914686"/>
                  </a:cubicBezTo>
                  <a:cubicBezTo>
                    <a:pt x="1065657" y="903065"/>
                    <a:pt x="1082421" y="889349"/>
                    <a:pt x="1100042" y="875919"/>
                  </a:cubicBezTo>
                  <a:lnTo>
                    <a:pt x="1108424" y="869347"/>
                  </a:lnTo>
                  <a:cubicBezTo>
                    <a:pt x="1121950" y="858774"/>
                    <a:pt x="1135952" y="847915"/>
                    <a:pt x="1149858" y="837629"/>
                  </a:cubicBezTo>
                  <a:lnTo>
                    <a:pt x="1150049" y="837438"/>
                  </a:lnTo>
                  <a:lnTo>
                    <a:pt x="1150239" y="837248"/>
                  </a:lnTo>
                  <a:cubicBezTo>
                    <a:pt x="1186625" y="809339"/>
                    <a:pt x="1223296" y="783146"/>
                    <a:pt x="1251204" y="763429"/>
                  </a:cubicBezTo>
                  <a:cubicBezTo>
                    <a:pt x="1386554" y="668560"/>
                    <a:pt x="1530287" y="582359"/>
                    <a:pt x="1678305" y="507016"/>
                  </a:cubicBezTo>
                  <a:cubicBezTo>
                    <a:pt x="1751933" y="469583"/>
                    <a:pt x="1827657" y="434435"/>
                    <a:pt x="1903476" y="402622"/>
                  </a:cubicBezTo>
                  <a:cubicBezTo>
                    <a:pt x="1979009" y="371094"/>
                    <a:pt x="2057019" y="342043"/>
                    <a:pt x="2135410" y="316325"/>
                  </a:cubicBezTo>
                  <a:cubicBezTo>
                    <a:pt x="2210372" y="291656"/>
                    <a:pt x="2290382" y="268891"/>
                    <a:pt x="2373059" y="248698"/>
                  </a:cubicBezTo>
                  <a:cubicBezTo>
                    <a:pt x="2449925" y="230219"/>
                    <a:pt x="2531364" y="214313"/>
                    <a:pt x="2615089" y="201454"/>
                  </a:cubicBezTo>
                  <a:cubicBezTo>
                    <a:pt x="2743772" y="182404"/>
                    <a:pt x="2873597" y="172784"/>
                    <a:pt x="3000566" y="172784"/>
                  </a:cubicBezTo>
                  <a:cubicBezTo>
                    <a:pt x="3036094" y="172784"/>
                    <a:pt x="3072003" y="173546"/>
                    <a:pt x="3107436" y="175069"/>
                  </a:cubicBezTo>
                  <a:cubicBezTo>
                    <a:pt x="3189828" y="178118"/>
                    <a:pt x="3272123" y="185261"/>
                    <a:pt x="3352229" y="196406"/>
                  </a:cubicBezTo>
                  <a:cubicBezTo>
                    <a:pt x="3434620" y="207931"/>
                    <a:pt x="3516249" y="223933"/>
                    <a:pt x="3594926" y="243935"/>
                  </a:cubicBezTo>
                  <a:cubicBezTo>
                    <a:pt x="3759613" y="285750"/>
                    <a:pt x="3915537" y="346139"/>
                    <a:pt x="4058412" y="423482"/>
                  </a:cubicBezTo>
                  <a:cubicBezTo>
                    <a:pt x="4128230" y="460820"/>
                    <a:pt x="4199668" y="505397"/>
                    <a:pt x="4270915" y="556165"/>
                  </a:cubicBezTo>
                  <a:cubicBezTo>
                    <a:pt x="4337971" y="604552"/>
                    <a:pt x="4403408" y="658178"/>
                    <a:pt x="4465225" y="715328"/>
                  </a:cubicBezTo>
                  <a:cubicBezTo>
                    <a:pt x="4587621" y="829342"/>
                    <a:pt x="4697540" y="958691"/>
                    <a:pt x="4791742" y="1099566"/>
                  </a:cubicBezTo>
                  <a:cubicBezTo>
                    <a:pt x="4840129" y="1171004"/>
                    <a:pt x="4883944" y="1244156"/>
                    <a:pt x="4922615" y="1317212"/>
                  </a:cubicBezTo>
                  <a:close/>
                </a:path>
              </a:pathLst>
            </a:custGeom>
            <a:ln w="9525" cap="flat">
              <a:noFill/>
              <a:prstDash val="solid"/>
              <a:miter/>
            </a:ln>
          </p:spPr>
          <p:txBody>
            <a:bodyPr rtlCol="0" anchor="ctr"/>
            <a:lstStyle/>
            <a:p>
              <a:endParaRPr lang="en-US" dirty="0"/>
            </a:p>
          </p:txBody>
        </p:sp>
      </p:grpSp>
      <p:grpSp>
        <p:nvGrpSpPr>
          <p:cNvPr id="71" name="Group 70">
            <a:extLst>
              <a:ext uri="{FF2B5EF4-FFF2-40B4-BE49-F238E27FC236}">
                <a16:creationId xmlns:a16="http://schemas.microsoft.com/office/drawing/2014/main" id="{0033DEB0-7449-4D72-ABFF-9DCE4C94D58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5462487" y="271678"/>
            <a:ext cx="2312211" cy="2312211"/>
            <a:chOff x="3338512" y="671512"/>
            <a:chExt cx="5514975" cy="5514975"/>
          </a:xfrm>
        </p:grpSpPr>
        <p:sp>
          <p:nvSpPr>
            <p:cNvPr id="72" name="Freeform: Shape 71">
              <a:extLst>
                <a:ext uri="{FF2B5EF4-FFF2-40B4-BE49-F238E27FC236}">
                  <a16:creationId xmlns:a16="http://schemas.microsoft.com/office/drawing/2014/main" id="{CEFD5FC3-D965-4E22-9308-397050A74B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02424" y="710564"/>
              <a:ext cx="5387135" cy="5436870"/>
            </a:xfrm>
            <a:custGeom>
              <a:avLst/>
              <a:gdLst>
                <a:gd name="connsiteX0" fmla="*/ 2671001 w 5387135"/>
                <a:gd name="connsiteY0" fmla="*/ 571500 h 5436870"/>
                <a:gd name="connsiteX1" fmla="*/ 3562922 w 5387135"/>
                <a:gd name="connsiteY1" fmla="*/ 828008 h 5436870"/>
                <a:gd name="connsiteX2" fmla="*/ 4365594 w 5387135"/>
                <a:gd name="connsiteY2" fmla="*/ 1529715 h 5436870"/>
                <a:gd name="connsiteX3" fmla="*/ 4763643 w 5387135"/>
                <a:gd name="connsiteY3" fmla="*/ 2339721 h 5436870"/>
                <a:gd name="connsiteX4" fmla="*/ 4757452 w 5387135"/>
                <a:gd name="connsiteY4" fmla="*/ 3182779 h 5436870"/>
                <a:gd name="connsiteX5" fmla="*/ 4661440 w 5387135"/>
                <a:gd name="connsiteY5" fmla="*/ 3399282 h 5436870"/>
                <a:gd name="connsiteX6" fmla="*/ 4487513 w 5387135"/>
                <a:gd name="connsiteY6" fmla="*/ 3507296 h 5436870"/>
                <a:gd name="connsiteX7" fmla="*/ 3850958 w 5387135"/>
                <a:gd name="connsiteY7" fmla="*/ 3966401 h 5436870"/>
                <a:gd name="connsiteX8" fmla="*/ 3585686 w 5387135"/>
                <a:gd name="connsiteY8" fmla="*/ 4249960 h 5436870"/>
                <a:gd name="connsiteX9" fmla="*/ 2671096 w 5387135"/>
                <a:gd name="connsiteY9" fmla="*/ 4865370 h 5436870"/>
                <a:gd name="connsiteX10" fmla="*/ 1789176 w 5387135"/>
                <a:gd name="connsiteY10" fmla="*/ 4667441 h 5436870"/>
                <a:gd name="connsiteX11" fmla="*/ 1088803 w 5387135"/>
                <a:gd name="connsiteY11" fmla="*/ 4129564 h 5436870"/>
                <a:gd name="connsiteX12" fmla="*/ 709517 w 5387135"/>
                <a:gd name="connsiteY12" fmla="*/ 3485864 h 5436870"/>
                <a:gd name="connsiteX13" fmla="*/ 571595 w 5387135"/>
                <a:gd name="connsiteY13" fmla="*/ 2718435 h 5436870"/>
                <a:gd name="connsiteX14" fmla="*/ 737711 w 5387135"/>
                <a:gd name="connsiteY14" fmla="*/ 1879664 h 5436870"/>
                <a:gd name="connsiteX15" fmla="*/ 1190054 w 5387135"/>
                <a:gd name="connsiteY15" fmla="*/ 1196816 h 5436870"/>
                <a:gd name="connsiteX16" fmla="*/ 2671001 w 5387135"/>
                <a:gd name="connsiteY16" fmla="*/ 571500 h 5436870"/>
                <a:gd name="connsiteX17" fmla="*/ 2671001 w 5387135"/>
                <a:gd name="connsiteY17" fmla="*/ 0 h 5436870"/>
                <a:gd name="connsiteX18" fmla="*/ 0 w 5387135"/>
                <a:gd name="connsiteY18" fmla="*/ 2718435 h 5436870"/>
                <a:gd name="connsiteX19" fmla="*/ 654082 w 5387135"/>
                <a:gd name="connsiteY19" fmla="*/ 4500658 h 5436870"/>
                <a:gd name="connsiteX20" fmla="*/ 2671001 w 5387135"/>
                <a:gd name="connsiteY20" fmla="*/ 5436870 h 5436870"/>
                <a:gd name="connsiteX21" fmla="*/ 4258532 w 5387135"/>
                <a:gd name="connsiteY21" fmla="*/ 4366927 h 5436870"/>
                <a:gd name="connsiteX22" fmla="*/ 5307807 w 5387135"/>
                <a:gd name="connsiteY22" fmla="*/ 3336608 h 5436870"/>
                <a:gd name="connsiteX23" fmla="*/ 2671001 w 5387135"/>
                <a:gd name="connsiteY23" fmla="*/ 0 h 5436870"/>
                <a:gd name="connsiteX24" fmla="*/ 2671001 w 5387135"/>
                <a:gd name="connsiteY24" fmla="*/ 0 h 543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87135" h="5436870">
                  <a:moveTo>
                    <a:pt x="2671001" y="571500"/>
                  </a:moveTo>
                  <a:cubicBezTo>
                    <a:pt x="2954655" y="571500"/>
                    <a:pt x="3263075" y="660178"/>
                    <a:pt x="3562922" y="828008"/>
                  </a:cubicBezTo>
                  <a:cubicBezTo>
                    <a:pt x="3870103" y="999935"/>
                    <a:pt x="4147661" y="1242632"/>
                    <a:pt x="4365594" y="1529715"/>
                  </a:cubicBezTo>
                  <a:cubicBezTo>
                    <a:pt x="4557427" y="1782509"/>
                    <a:pt x="4695063" y="2062639"/>
                    <a:pt x="4763643" y="2339721"/>
                  </a:cubicBezTo>
                  <a:cubicBezTo>
                    <a:pt x="4835081" y="2628709"/>
                    <a:pt x="4833080" y="2912364"/>
                    <a:pt x="4757452" y="3182779"/>
                  </a:cubicBezTo>
                  <a:cubicBezTo>
                    <a:pt x="4727924" y="3288411"/>
                    <a:pt x="4693825" y="3365278"/>
                    <a:pt x="4661440" y="3399282"/>
                  </a:cubicBezTo>
                  <a:cubicBezTo>
                    <a:pt x="4632484" y="3429667"/>
                    <a:pt x="4568476" y="3463862"/>
                    <a:pt x="4487513" y="3507296"/>
                  </a:cubicBezTo>
                  <a:cubicBezTo>
                    <a:pt x="4322445" y="3595592"/>
                    <a:pt x="4096322" y="3716655"/>
                    <a:pt x="3850958" y="3966401"/>
                  </a:cubicBezTo>
                  <a:cubicBezTo>
                    <a:pt x="3757136" y="4061841"/>
                    <a:pt x="3669983" y="4157472"/>
                    <a:pt x="3585686" y="4249960"/>
                  </a:cubicBezTo>
                  <a:cubicBezTo>
                    <a:pt x="3217069" y="4654392"/>
                    <a:pt x="3008947" y="4865370"/>
                    <a:pt x="2671096" y="4865370"/>
                  </a:cubicBezTo>
                  <a:cubicBezTo>
                    <a:pt x="2362772" y="4865370"/>
                    <a:pt x="2066068" y="4798791"/>
                    <a:pt x="1789176" y="4667441"/>
                  </a:cubicBezTo>
                  <a:cubicBezTo>
                    <a:pt x="1524095" y="4541711"/>
                    <a:pt x="1281874" y="4355783"/>
                    <a:pt x="1088803" y="4129564"/>
                  </a:cubicBezTo>
                  <a:cubicBezTo>
                    <a:pt x="925449" y="3938207"/>
                    <a:pt x="797814" y="3721703"/>
                    <a:pt x="709517" y="3485864"/>
                  </a:cubicBezTo>
                  <a:cubicBezTo>
                    <a:pt x="617982" y="3241358"/>
                    <a:pt x="571595" y="2983230"/>
                    <a:pt x="571595" y="2718435"/>
                  </a:cubicBezTo>
                  <a:cubicBezTo>
                    <a:pt x="571595" y="2427161"/>
                    <a:pt x="627507" y="2144935"/>
                    <a:pt x="737711" y="1879664"/>
                  </a:cubicBezTo>
                  <a:cubicBezTo>
                    <a:pt x="844010" y="1623822"/>
                    <a:pt x="996220" y="1394079"/>
                    <a:pt x="1190054" y="1196816"/>
                  </a:cubicBezTo>
                  <a:cubicBezTo>
                    <a:pt x="1586103" y="793528"/>
                    <a:pt x="2112169" y="571500"/>
                    <a:pt x="2671001" y="571500"/>
                  </a:cubicBezTo>
                  <a:moveTo>
                    <a:pt x="2671001" y="0"/>
                  </a:moveTo>
                  <a:cubicBezTo>
                    <a:pt x="1195864" y="0"/>
                    <a:pt x="0" y="1217105"/>
                    <a:pt x="0" y="2718435"/>
                  </a:cubicBezTo>
                  <a:cubicBezTo>
                    <a:pt x="0" y="3400234"/>
                    <a:pt x="246698" y="4023455"/>
                    <a:pt x="654082" y="4500658"/>
                  </a:cubicBezTo>
                  <a:cubicBezTo>
                    <a:pt x="1143762" y="5074254"/>
                    <a:pt x="1865757" y="5436870"/>
                    <a:pt x="2671001" y="5436870"/>
                  </a:cubicBezTo>
                  <a:cubicBezTo>
                    <a:pt x="3408617" y="5436870"/>
                    <a:pt x="3775139" y="4858893"/>
                    <a:pt x="4258532" y="4366927"/>
                  </a:cubicBezTo>
                  <a:cubicBezTo>
                    <a:pt x="4741831" y="3874961"/>
                    <a:pt x="5106067" y="4058603"/>
                    <a:pt x="5307807" y="3336608"/>
                  </a:cubicBezTo>
                  <a:cubicBezTo>
                    <a:pt x="5767007" y="1693259"/>
                    <a:pt x="4146233" y="0"/>
                    <a:pt x="2671001" y="0"/>
                  </a:cubicBezTo>
                  <a:lnTo>
                    <a:pt x="2671001" y="0"/>
                  </a:lnTo>
                  <a:close/>
                </a:path>
              </a:pathLst>
            </a:custGeom>
            <a:solidFill>
              <a:schemeClr val="bg1">
                <a:alpha val="20000"/>
              </a:schemeClr>
            </a:solidFill>
            <a:ln w="952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05830B89-F42D-4137-8BBF-EA47BDD1474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02424" y="710564"/>
              <a:ext cx="5387135" cy="5436870"/>
            </a:xfrm>
            <a:custGeom>
              <a:avLst/>
              <a:gdLst>
                <a:gd name="connsiteX0" fmla="*/ 2671001 w 5387135"/>
                <a:gd name="connsiteY0" fmla="*/ 476250 h 5436870"/>
                <a:gd name="connsiteX1" fmla="*/ 3609404 w 5387135"/>
                <a:gd name="connsiteY1" fmla="*/ 744855 h 5436870"/>
                <a:gd name="connsiteX2" fmla="*/ 4441412 w 5387135"/>
                <a:gd name="connsiteY2" fmla="*/ 1472089 h 5436870"/>
                <a:gd name="connsiteX3" fmla="*/ 4856036 w 5387135"/>
                <a:gd name="connsiteY3" fmla="*/ 2316766 h 5436870"/>
                <a:gd name="connsiteX4" fmla="*/ 4849178 w 5387135"/>
                <a:gd name="connsiteY4" fmla="*/ 3208306 h 5436870"/>
                <a:gd name="connsiteX5" fmla="*/ 4730401 w 5387135"/>
                <a:gd name="connsiteY5" fmla="*/ 3464909 h 5436870"/>
                <a:gd name="connsiteX6" fmla="*/ 4532471 w 5387135"/>
                <a:gd name="connsiteY6" fmla="*/ 3591211 h 5436870"/>
                <a:gd name="connsiteX7" fmla="*/ 3918871 w 5387135"/>
                <a:gd name="connsiteY7" fmla="*/ 4033076 h 5436870"/>
                <a:gd name="connsiteX8" fmla="*/ 3656076 w 5387135"/>
                <a:gd name="connsiteY8" fmla="*/ 4314063 h 5436870"/>
                <a:gd name="connsiteX9" fmla="*/ 3151727 w 5387135"/>
                <a:gd name="connsiteY9" fmla="*/ 4800981 h 5436870"/>
                <a:gd name="connsiteX10" fmla="*/ 2671096 w 5387135"/>
                <a:gd name="connsiteY10" fmla="*/ 4960620 h 5436870"/>
                <a:gd name="connsiteX11" fmla="*/ 1748409 w 5387135"/>
                <a:gd name="connsiteY11" fmla="*/ 4753547 h 5436870"/>
                <a:gd name="connsiteX12" fmla="*/ 1016413 w 5387135"/>
                <a:gd name="connsiteY12" fmla="*/ 4191476 h 5436870"/>
                <a:gd name="connsiteX13" fmla="*/ 620363 w 5387135"/>
                <a:gd name="connsiteY13" fmla="*/ 3519297 h 5436870"/>
                <a:gd name="connsiteX14" fmla="*/ 476250 w 5387135"/>
                <a:gd name="connsiteY14" fmla="*/ 2718435 h 5436870"/>
                <a:gd name="connsiteX15" fmla="*/ 649700 w 5387135"/>
                <a:gd name="connsiteY15" fmla="*/ 1843088 h 5436870"/>
                <a:gd name="connsiteX16" fmla="*/ 1122045 w 5387135"/>
                <a:gd name="connsiteY16" fmla="*/ 1130046 h 5436870"/>
                <a:gd name="connsiteX17" fmla="*/ 2671001 w 5387135"/>
                <a:gd name="connsiteY17" fmla="*/ 476250 h 5436870"/>
                <a:gd name="connsiteX18" fmla="*/ 2671001 w 5387135"/>
                <a:gd name="connsiteY18" fmla="*/ 0 h 5436870"/>
                <a:gd name="connsiteX19" fmla="*/ 0 w 5387135"/>
                <a:gd name="connsiteY19" fmla="*/ 2718435 h 5436870"/>
                <a:gd name="connsiteX20" fmla="*/ 654082 w 5387135"/>
                <a:gd name="connsiteY20" fmla="*/ 4500658 h 5436870"/>
                <a:gd name="connsiteX21" fmla="*/ 2671001 w 5387135"/>
                <a:gd name="connsiteY21" fmla="*/ 5436870 h 5436870"/>
                <a:gd name="connsiteX22" fmla="*/ 4258532 w 5387135"/>
                <a:gd name="connsiteY22" fmla="*/ 4366927 h 5436870"/>
                <a:gd name="connsiteX23" fmla="*/ 5307807 w 5387135"/>
                <a:gd name="connsiteY23" fmla="*/ 3336608 h 5436870"/>
                <a:gd name="connsiteX24" fmla="*/ 2671001 w 5387135"/>
                <a:gd name="connsiteY24" fmla="*/ 0 h 5436870"/>
                <a:gd name="connsiteX25" fmla="*/ 2671001 w 5387135"/>
                <a:gd name="connsiteY25" fmla="*/ 0 h 543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87135" h="5436870">
                  <a:moveTo>
                    <a:pt x="2671001" y="476250"/>
                  </a:moveTo>
                  <a:cubicBezTo>
                    <a:pt x="2970943" y="476250"/>
                    <a:pt x="3295460" y="569119"/>
                    <a:pt x="3609404" y="744855"/>
                  </a:cubicBezTo>
                  <a:cubicBezTo>
                    <a:pt x="3927920" y="923163"/>
                    <a:pt x="4215670" y="1174623"/>
                    <a:pt x="4441412" y="1472089"/>
                  </a:cubicBezTo>
                  <a:cubicBezTo>
                    <a:pt x="4641056" y="1735169"/>
                    <a:pt x="4784408" y="2027206"/>
                    <a:pt x="4856036" y="2316766"/>
                  </a:cubicBezTo>
                  <a:cubicBezTo>
                    <a:pt x="4931474" y="2621947"/>
                    <a:pt x="4929188" y="2921889"/>
                    <a:pt x="4849178" y="3208306"/>
                  </a:cubicBezTo>
                  <a:cubicBezTo>
                    <a:pt x="4814602" y="3332131"/>
                    <a:pt x="4774597" y="3418523"/>
                    <a:pt x="4730401" y="3464909"/>
                  </a:cubicBezTo>
                  <a:cubicBezTo>
                    <a:pt x="4692777" y="3504438"/>
                    <a:pt x="4633627" y="3537014"/>
                    <a:pt x="4532471" y="3591211"/>
                  </a:cubicBezTo>
                  <a:cubicBezTo>
                    <a:pt x="4372832" y="3676650"/>
                    <a:pt x="4154138" y="3793617"/>
                    <a:pt x="3918871" y="4033076"/>
                  </a:cubicBezTo>
                  <a:cubicBezTo>
                    <a:pt x="3826288" y="4127278"/>
                    <a:pt x="3739801" y="4222242"/>
                    <a:pt x="3656076" y="4314063"/>
                  </a:cubicBezTo>
                  <a:cubicBezTo>
                    <a:pt x="3483578" y="4503230"/>
                    <a:pt x="3320701" y="4682014"/>
                    <a:pt x="3151727" y="4800981"/>
                  </a:cubicBezTo>
                  <a:cubicBezTo>
                    <a:pt x="2994946" y="4911376"/>
                    <a:pt x="2846737" y="4960620"/>
                    <a:pt x="2671096" y="4960620"/>
                  </a:cubicBezTo>
                  <a:cubicBezTo>
                    <a:pt x="2348579" y="4960620"/>
                    <a:pt x="2038160" y="4890993"/>
                    <a:pt x="1748409" y="4753547"/>
                  </a:cubicBezTo>
                  <a:cubicBezTo>
                    <a:pt x="1471327" y="4622102"/>
                    <a:pt x="1218152" y="4427792"/>
                    <a:pt x="1016413" y="4191476"/>
                  </a:cubicBezTo>
                  <a:cubicBezTo>
                    <a:pt x="845820" y="3991737"/>
                    <a:pt x="712565" y="3765518"/>
                    <a:pt x="620363" y="3519297"/>
                  </a:cubicBezTo>
                  <a:cubicBezTo>
                    <a:pt x="524732" y="3264122"/>
                    <a:pt x="476250" y="2994660"/>
                    <a:pt x="476250" y="2718435"/>
                  </a:cubicBezTo>
                  <a:cubicBezTo>
                    <a:pt x="476250" y="2414492"/>
                    <a:pt x="534638" y="2119979"/>
                    <a:pt x="649700" y="1843088"/>
                  </a:cubicBezTo>
                  <a:cubicBezTo>
                    <a:pt x="760762" y="1575911"/>
                    <a:pt x="919639" y="1335977"/>
                    <a:pt x="1122045" y="1130046"/>
                  </a:cubicBezTo>
                  <a:cubicBezTo>
                    <a:pt x="1536287" y="708470"/>
                    <a:pt x="2086356" y="476250"/>
                    <a:pt x="2671001" y="476250"/>
                  </a:cubicBezTo>
                  <a:moveTo>
                    <a:pt x="2671001" y="0"/>
                  </a:moveTo>
                  <a:cubicBezTo>
                    <a:pt x="1195864" y="0"/>
                    <a:pt x="0" y="1217105"/>
                    <a:pt x="0" y="2718435"/>
                  </a:cubicBezTo>
                  <a:cubicBezTo>
                    <a:pt x="0" y="3400234"/>
                    <a:pt x="246698" y="4023455"/>
                    <a:pt x="654082" y="4500658"/>
                  </a:cubicBezTo>
                  <a:cubicBezTo>
                    <a:pt x="1143762" y="5074254"/>
                    <a:pt x="1865757" y="5436870"/>
                    <a:pt x="2671001" y="5436870"/>
                  </a:cubicBezTo>
                  <a:cubicBezTo>
                    <a:pt x="3408617" y="5436870"/>
                    <a:pt x="3775139" y="4858893"/>
                    <a:pt x="4258532" y="4366927"/>
                  </a:cubicBezTo>
                  <a:cubicBezTo>
                    <a:pt x="4741831" y="3874961"/>
                    <a:pt x="5106067" y="4058603"/>
                    <a:pt x="5307807" y="3336608"/>
                  </a:cubicBezTo>
                  <a:cubicBezTo>
                    <a:pt x="5767007" y="1693259"/>
                    <a:pt x="4146233" y="0"/>
                    <a:pt x="2671001" y="0"/>
                  </a:cubicBezTo>
                  <a:lnTo>
                    <a:pt x="2671001" y="0"/>
                  </a:lnTo>
                  <a:close/>
                </a:path>
              </a:pathLst>
            </a:custGeom>
            <a:solidFill>
              <a:schemeClr val="bg1">
                <a:alpha val="20000"/>
              </a:schemeClr>
            </a:solidFill>
            <a:ln w="9525"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7B1EF234-EE1E-44A5-84B9-6B6103242FE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19801" y="675905"/>
              <a:ext cx="5352295" cy="5429904"/>
            </a:xfrm>
            <a:custGeom>
              <a:avLst/>
              <a:gdLst>
                <a:gd name="connsiteX0" fmla="*/ 2659053 w 5352295"/>
                <a:gd name="connsiteY0" fmla="*/ 83 h 5429904"/>
                <a:gd name="connsiteX1" fmla="*/ 2917752 w 5352295"/>
                <a:gd name="connsiteY1" fmla="*/ 16275 h 5429904"/>
                <a:gd name="connsiteX2" fmla="*/ 3171403 w 5352295"/>
                <a:gd name="connsiteY2" fmla="*/ 64853 h 5429904"/>
                <a:gd name="connsiteX3" fmla="*/ 3654797 w 5352295"/>
                <a:gd name="connsiteY3" fmla="*/ 241446 h 5429904"/>
                <a:gd name="connsiteX4" fmla="*/ 3882158 w 5352295"/>
                <a:gd name="connsiteY4" fmla="*/ 362795 h 5429904"/>
                <a:gd name="connsiteX5" fmla="*/ 4099138 w 5352295"/>
                <a:gd name="connsiteY5" fmla="*/ 502622 h 5429904"/>
                <a:gd name="connsiteX6" fmla="*/ 4497474 w 5352295"/>
                <a:gd name="connsiteY6" fmla="*/ 833902 h 5429904"/>
                <a:gd name="connsiteX7" fmla="*/ 4840659 w 5352295"/>
                <a:gd name="connsiteY7" fmla="*/ 1227856 h 5429904"/>
                <a:gd name="connsiteX8" fmla="*/ 5115456 w 5352295"/>
                <a:gd name="connsiteY8" fmla="*/ 1679245 h 5429904"/>
                <a:gd name="connsiteX9" fmla="*/ 5221755 w 5352295"/>
                <a:gd name="connsiteY9" fmla="*/ 1924514 h 5429904"/>
                <a:gd name="connsiteX10" fmla="*/ 5244710 w 5352295"/>
                <a:gd name="connsiteY10" fmla="*/ 1987665 h 5429904"/>
                <a:gd name="connsiteX11" fmla="*/ 5265760 w 5352295"/>
                <a:gd name="connsiteY11" fmla="*/ 2051578 h 5429904"/>
                <a:gd name="connsiteX12" fmla="*/ 5284429 w 5352295"/>
                <a:gd name="connsiteY12" fmla="*/ 2116348 h 5429904"/>
                <a:gd name="connsiteX13" fmla="*/ 5300812 w 5352295"/>
                <a:gd name="connsiteY13" fmla="*/ 2181880 h 5429904"/>
                <a:gd name="connsiteX14" fmla="*/ 5351485 w 5352295"/>
                <a:gd name="connsiteY14" fmla="*/ 2720233 h 5429904"/>
                <a:gd name="connsiteX15" fmla="*/ 5323196 w 5352295"/>
                <a:gd name="connsiteY15" fmla="*/ 2989314 h 5429904"/>
                <a:gd name="connsiteX16" fmla="*/ 5257283 w 5352295"/>
                <a:gd name="connsiteY16" fmla="*/ 3249823 h 5429904"/>
                <a:gd name="connsiteX17" fmla="*/ 5169462 w 5352295"/>
                <a:gd name="connsiteY17" fmla="*/ 3501664 h 5429904"/>
                <a:gd name="connsiteX18" fmla="*/ 5114218 w 5352295"/>
                <a:gd name="connsiteY18" fmla="*/ 3626822 h 5429904"/>
                <a:gd name="connsiteX19" fmla="*/ 5043161 w 5352295"/>
                <a:gd name="connsiteY19" fmla="*/ 3748742 h 5429904"/>
                <a:gd name="connsiteX20" fmla="*/ 4952197 w 5352295"/>
                <a:gd name="connsiteY20" fmla="*/ 3861232 h 5429904"/>
                <a:gd name="connsiteX21" fmla="*/ 4899810 w 5352295"/>
                <a:gd name="connsiteY21" fmla="*/ 3911239 h 5429904"/>
                <a:gd name="connsiteX22" fmla="*/ 4844565 w 5352295"/>
                <a:gd name="connsiteY22" fmla="*/ 3956006 h 5429904"/>
                <a:gd name="connsiteX23" fmla="*/ 4624251 w 5352295"/>
                <a:gd name="connsiteY23" fmla="*/ 4096976 h 5429904"/>
                <a:gd name="connsiteX24" fmla="*/ 4430608 w 5352295"/>
                <a:gd name="connsiteY24" fmla="*/ 4225278 h 5429904"/>
                <a:gd name="connsiteX25" fmla="*/ 4343835 w 5352295"/>
                <a:gd name="connsiteY25" fmla="*/ 4296430 h 5429904"/>
                <a:gd name="connsiteX26" fmla="*/ 4262301 w 5352295"/>
                <a:gd name="connsiteY26" fmla="*/ 4373678 h 5429904"/>
                <a:gd name="connsiteX27" fmla="*/ 4222963 w 5352295"/>
                <a:gd name="connsiteY27" fmla="*/ 4414921 h 5429904"/>
                <a:gd name="connsiteX28" fmla="*/ 4182482 w 5352295"/>
                <a:gd name="connsiteY28" fmla="*/ 4458831 h 5429904"/>
                <a:gd name="connsiteX29" fmla="*/ 4101329 w 5352295"/>
                <a:gd name="connsiteY29" fmla="*/ 4548175 h 5429904"/>
                <a:gd name="connsiteX30" fmla="*/ 3933498 w 5352295"/>
                <a:gd name="connsiteY30" fmla="*/ 4728007 h 5429904"/>
                <a:gd name="connsiteX31" fmla="*/ 3846726 w 5352295"/>
                <a:gd name="connsiteY31" fmla="*/ 4818305 h 5429904"/>
                <a:gd name="connsiteX32" fmla="*/ 3757000 w 5352295"/>
                <a:gd name="connsiteY32" fmla="*/ 4907649 h 5429904"/>
                <a:gd name="connsiteX33" fmla="*/ 3565547 w 5352295"/>
                <a:gd name="connsiteY33" fmla="*/ 5079480 h 5429904"/>
                <a:gd name="connsiteX34" fmla="*/ 3352569 w 5352295"/>
                <a:gd name="connsiteY34" fmla="*/ 5231975 h 5429904"/>
                <a:gd name="connsiteX35" fmla="*/ 3115015 w 5352295"/>
                <a:gd name="connsiteY35" fmla="*/ 5349323 h 5429904"/>
                <a:gd name="connsiteX36" fmla="*/ 2858697 w 5352295"/>
                <a:gd name="connsiteY36" fmla="*/ 5416284 h 5429904"/>
                <a:gd name="connsiteX37" fmla="*/ 2727538 w 5352295"/>
                <a:gd name="connsiteY37" fmla="*/ 5428667 h 5429904"/>
                <a:gd name="connsiteX38" fmla="*/ 2694772 w 5352295"/>
                <a:gd name="connsiteY38" fmla="*/ 5429714 h 5429904"/>
                <a:gd name="connsiteX39" fmla="*/ 2662006 w 5352295"/>
                <a:gd name="connsiteY39" fmla="*/ 5429905 h 5429904"/>
                <a:gd name="connsiteX40" fmla="*/ 2598379 w 5352295"/>
                <a:gd name="connsiteY40" fmla="*/ 5428476 h 5429904"/>
                <a:gd name="connsiteX41" fmla="*/ 1608541 w 5352295"/>
                <a:gd name="connsiteY41" fmla="*/ 5205591 h 5429904"/>
                <a:gd name="connsiteX42" fmla="*/ 1378417 w 5352295"/>
                <a:gd name="connsiteY42" fmla="*/ 5090815 h 5429904"/>
                <a:gd name="connsiteX43" fmla="*/ 1160485 w 5352295"/>
                <a:gd name="connsiteY43" fmla="*/ 4952607 h 5429904"/>
                <a:gd name="connsiteX44" fmla="*/ 768245 w 5352295"/>
                <a:gd name="connsiteY44" fmla="*/ 4614565 h 5429904"/>
                <a:gd name="connsiteX45" fmla="*/ 440966 w 5352295"/>
                <a:gd name="connsiteY45" fmla="*/ 4206133 h 5429904"/>
                <a:gd name="connsiteX46" fmla="*/ 197126 w 5352295"/>
                <a:gd name="connsiteY46" fmla="*/ 3737788 h 5429904"/>
                <a:gd name="connsiteX47" fmla="*/ 46631 w 5352295"/>
                <a:gd name="connsiteY47" fmla="*/ 3227915 h 5429904"/>
                <a:gd name="connsiteX48" fmla="*/ 9389 w 5352295"/>
                <a:gd name="connsiteY48" fmla="*/ 2963501 h 5429904"/>
                <a:gd name="connsiteX49" fmla="*/ 530 w 5352295"/>
                <a:gd name="connsiteY49" fmla="*/ 2696420 h 5429904"/>
                <a:gd name="connsiteX50" fmla="*/ 19104 w 5352295"/>
                <a:gd name="connsiteY50" fmla="*/ 2430006 h 5429904"/>
                <a:gd name="connsiteX51" fmla="*/ 63776 w 5352295"/>
                <a:gd name="connsiteY51" fmla="*/ 2167116 h 5429904"/>
                <a:gd name="connsiteX52" fmla="*/ 222272 w 5352295"/>
                <a:gd name="connsiteY52" fmla="*/ 1660291 h 5429904"/>
                <a:gd name="connsiteX53" fmla="*/ 789677 w 5352295"/>
                <a:gd name="connsiteY53" fmla="*/ 774275 h 5429904"/>
                <a:gd name="connsiteX54" fmla="*/ 976652 w 5352295"/>
                <a:gd name="connsiteY54" fmla="*/ 588252 h 5429904"/>
                <a:gd name="connsiteX55" fmla="*/ 1185250 w 5352295"/>
                <a:gd name="connsiteY55" fmla="*/ 427279 h 5429904"/>
                <a:gd name="connsiteX56" fmla="*/ 1649689 w 5352295"/>
                <a:gd name="connsiteY56" fmla="*/ 185630 h 5429904"/>
                <a:gd name="connsiteX57" fmla="*/ 2148609 w 5352295"/>
                <a:gd name="connsiteY57" fmla="*/ 47803 h 5429904"/>
                <a:gd name="connsiteX58" fmla="*/ 2659053 w 5352295"/>
                <a:gd name="connsiteY58" fmla="*/ 83 h 5429904"/>
                <a:gd name="connsiteX59" fmla="*/ 2659053 w 5352295"/>
                <a:gd name="connsiteY59" fmla="*/ 196393 h 5429904"/>
                <a:gd name="connsiteX60" fmla="*/ 2194614 w 5352295"/>
                <a:gd name="connsiteY60" fmla="*/ 257639 h 5429904"/>
                <a:gd name="connsiteX61" fmla="*/ 1764465 w 5352295"/>
                <a:gd name="connsiteY61" fmla="*/ 438328 h 5429904"/>
                <a:gd name="connsiteX62" fmla="*/ 1383941 w 5352295"/>
                <a:gd name="connsiteY62" fmla="*/ 702171 h 5429904"/>
                <a:gd name="connsiteX63" fmla="*/ 1210682 w 5352295"/>
                <a:gd name="connsiteY63" fmla="*/ 854476 h 5429904"/>
                <a:gd name="connsiteX64" fmla="*/ 1046661 w 5352295"/>
                <a:gd name="connsiteY64" fmla="*/ 1016877 h 5429904"/>
                <a:gd name="connsiteX65" fmla="*/ 561172 w 5352295"/>
                <a:gd name="connsiteY65" fmla="*/ 1801261 h 5429904"/>
                <a:gd name="connsiteX66" fmla="*/ 430679 w 5352295"/>
                <a:gd name="connsiteY66" fmla="*/ 2245602 h 5429904"/>
                <a:gd name="connsiteX67" fmla="*/ 396104 w 5352295"/>
                <a:gd name="connsiteY67" fmla="*/ 2474392 h 5429904"/>
                <a:gd name="connsiteX68" fmla="*/ 380673 w 5352295"/>
                <a:gd name="connsiteY68" fmla="*/ 2704993 h 5429904"/>
                <a:gd name="connsiteX69" fmla="*/ 384102 w 5352295"/>
                <a:gd name="connsiteY69" fmla="*/ 2935974 h 5429904"/>
                <a:gd name="connsiteX70" fmla="*/ 405914 w 5352295"/>
                <a:gd name="connsiteY70" fmla="*/ 3166003 h 5429904"/>
                <a:gd name="connsiteX71" fmla="*/ 512499 w 5352295"/>
                <a:gd name="connsiteY71" fmla="*/ 3616440 h 5429904"/>
                <a:gd name="connsiteX72" fmla="*/ 704047 w 5352295"/>
                <a:gd name="connsiteY72" fmla="*/ 4039826 h 5429904"/>
                <a:gd name="connsiteX73" fmla="*/ 829682 w 5352295"/>
                <a:gd name="connsiteY73" fmla="*/ 4236327 h 5429904"/>
                <a:gd name="connsiteX74" fmla="*/ 899405 w 5352295"/>
                <a:gd name="connsiteY74" fmla="*/ 4330053 h 5429904"/>
                <a:gd name="connsiteX75" fmla="*/ 974081 w 5352295"/>
                <a:gd name="connsiteY75" fmla="*/ 4420826 h 5429904"/>
                <a:gd name="connsiteX76" fmla="*/ 1310980 w 5352295"/>
                <a:gd name="connsiteY76" fmla="*/ 4748963 h 5429904"/>
                <a:gd name="connsiteX77" fmla="*/ 1356891 w 5352295"/>
                <a:gd name="connsiteY77" fmla="*/ 4785824 h 5429904"/>
                <a:gd name="connsiteX78" fmla="*/ 1403658 w 5352295"/>
                <a:gd name="connsiteY78" fmla="*/ 4821733 h 5429904"/>
                <a:gd name="connsiteX79" fmla="*/ 1451093 w 5352295"/>
                <a:gd name="connsiteY79" fmla="*/ 4856785 h 5429904"/>
                <a:gd name="connsiteX80" fmla="*/ 1499384 w 5352295"/>
                <a:gd name="connsiteY80" fmla="*/ 4890694 h 5429904"/>
                <a:gd name="connsiteX81" fmla="*/ 1700076 w 5352295"/>
                <a:gd name="connsiteY81" fmla="*/ 5014995 h 5429904"/>
                <a:gd name="connsiteX82" fmla="*/ 2135464 w 5352295"/>
                <a:gd name="connsiteY82" fmla="*/ 5198542 h 5429904"/>
                <a:gd name="connsiteX83" fmla="*/ 2602761 w 5352295"/>
                <a:gd name="connsiteY83" fmla="*/ 5269789 h 5429904"/>
                <a:gd name="connsiteX84" fmla="*/ 2661911 w 5352295"/>
                <a:gd name="connsiteY84" fmla="*/ 5270171 h 5429904"/>
                <a:gd name="connsiteX85" fmla="*/ 2719156 w 5352295"/>
                <a:gd name="connsiteY85" fmla="*/ 5267980 h 5429904"/>
                <a:gd name="connsiteX86" fmla="*/ 2832122 w 5352295"/>
                <a:gd name="connsiteY86" fmla="*/ 5253216 h 5429904"/>
                <a:gd name="connsiteX87" fmla="*/ 3046816 w 5352295"/>
                <a:gd name="connsiteY87" fmla="*/ 5182540 h 5429904"/>
                <a:gd name="connsiteX88" fmla="*/ 3240269 w 5352295"/>
                <a:gd name="connsiteY88" fmla="*/ 5062430 h 5429904"/>
                <a:gd name="connsiteX89" fmla="*/ 3412957 w 5352295"/>
                <a:gd name="connsiteY89" fmla="*/ 4906887 h 5429904"/>
                <a:gd name="connsiteX90" fmla="*/ 3571929 w 5352295"/>
                <a:gd name="connsiteY90" fmla="*/ 4729627 h 5429904"/>
                <a:gd name="connsiteX91" fmla="*/ 3648987 w 5352295"/>
                <a:gd name="connsiteY91" fmla="*/ 4636091 h 5429904"/>
                <a:gd name="connsiteX92" fmla="*/ 3726234 w 5352295"/>
                <a:gd name="connsiteY92" fmla="*/ 4540937 h 5429904"/>
                <a:gd name="connsiteX93" fmla="*/ 3885778 w 5352295"/>
                <a:gd name="connsiteY93" fmla="*/ 4349103 h 5429904"/>
                <a:gd name="connsiteX94" fmla="*/ 3971694 w 5352295"/>
                <a:gd name="connsiteY94" fmla="*/ 4255758 h 5429904"/>
                <a:gd name="connsiteX95" fmla="*/ 4016366 w 5352295"/>
                <a:gd name="connsiteY95" fmla="*/ 4209943 h 5429904"/>
                <a:gd name="connsiteX96" fmla="*/ 4064277 w 5352295"/>
                <a:gd name="connsiteY96" fmla="*/ 4163461 h 5429904"/>
                <a:gd name="connsiteX97" fmla="*/ 4276494 w 5352295"/>
                <a:gd name="connsiteY97" fmla="*/ 3997535 h 5429904"/>
                <a:gd name="connsiteX98" fmla="*/ 4504903 w 5352295"/>
                <a:gd name="connsiteY98" fmla="*/ 3871138 h 5429904"/>
                <a:gd name="connsiteX99" fmla="*/ 4612821 w 5352295"/>
                <a:gd name="connsiteY99" fmla="*/ 3817132 h 5429904"/>
                <a:gd name="connsiteX100" fmla="*/ 4708738 w 5352295"/>
                <a:gd name="connsiteY100" fmla="*/ 3761220 h 5429904"/>
                <a:gd name="connsiteX101" fmla="*/ 4854756 w 5352295"/>
                <a:gd name="connsiteY101" fmla="*/ 3617107 h 5429904"/>
                <a:gd name="connsiteX102" fmla="*/ 4947244 w 5352295"/>
                <a:gd name="connsiteY102" fmla="*/ 3419558 h 5429904"/>
                <a:gd name="connsiteX103" fmla="*/ 4992774 w 5352295"/>
                <a:gd name="connsiteY103" fmla="*/ 3192196 h 5429904"/>
                <a:gd name="connsiteX104" fmla="*/ 5000775 w 5352295"/>
                <a:gd name="connsiteY104" fmla="*/ 2960358 h 5429904"/>
                <a:gd name="connsiteX105" fmla="*/ 4985916 w 5352295"/>
                <a:gd name="connsiteY105" fmla="*/ 2731567 h 5429904"/>
                <a:gd name="connsiteX106" fmla="*/ 4951816 w 5352295"/>
                <a:gd name="connsiteY106" fmla="*/ 2506396 h 5429904"/>
                <a:gd name="connsiteX107" fmla="*/ 4898476 w 5352295"/>
                <a:gd name="connsiteY107" fmla="*/ 2285226 h 5429904"/>
                <a:gd name="connsiteX108" fmla="*/ 4753315 w 5352295"/>
                <a:gd name="connsiteY108" fmla="*/ 1850791 h 5429904"/>
                <a:gd name="connsiteX109" fmla="*/ 4539479 w 5352295"/>
                <a:gd name="connsiteY109" fmla="*/ 1438834 h 5429904"/>
                <a:gd name="connsiteX110" fmla="*/ 4409082 w 5352295"/>
                <a:gd name="connsiteY110" fmla="*/ 1244524 h 5429904"/>
                <a:gd name="connsiteX111" fmla="*/ 4263635 w 5352295"/>
                <a:gd name="connsiteY111" fmla="*/ 1060120 h 5429904"/>
                <a:gd name="connsiteX112" fmla="*/ 3931593 w 5352295"/>
                <a:gd name="connsiteY112" fmla="*/ 726364 h 5429904"/>
                <a:gd name="connsiteX113" fmla="*/ 3547164 w 5352295"/>
                <a:gd name="connsiteY113" fmla="*/ 454521 h 5429904"/>
                <a:gd name="connsiteX114" fmla="*/ 3495729 w 5352295"/>
                <a:gd name="connsiteY114" fmla="*/ 425946 h 5429904"/>
                <a:gd name="connsiteX115" fmla="*/ 3443628 w 5352295"/>
                <a:gd name="connsiteY115" fmla="*/ 398704 h 5429904"/>
                <a:gd name="connsiteX116" fmla="*/ 3390669 w 5352295"/>
                <a:gd name="connsiteY116" fmla="*/ 373177 h 5429904"/>
                <a:gd name="connsiteX117" fmla="*/ 3337138 w 5352295"/>
                <a:gd name="connsiteY117" fmla="*/ 349079 h 5429904"/>
                <a:gd name="connsiteX118" fmla="*/ 3117301 w 5352295"/>
                <a:gd name="connsiteY118" fmla="*/ 268402 h 5429904"/>
                <a:gd name="connsiteX119" fmla="*/ 2890130 w 5352295"/>
                <a:gd name="connsiteY119" fmla="*/ 216205 h 5429904"/>
                <a:gd name="connsiteX120" fmla="*/ 2659053 w 5352295"/>
                <a:gd name="connsiteY120" fmla="*/ 196393 h 542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5352295" h="5429904">
                  <a:moveTo>
                    <a:pt x="2659053" y="83"/>
                  </a:moveTo>
                  <a:cubicBezTo>
                    <a:pt x="2745731" y="-774"/>
                    <a:pt x="2832218" y="5036"/>
                    <a:pt x="2917752" y="16275"/>
                  </a:cubicBezTo>
                  <a:cubicBezTo>
                    <a:pt x="3003382" y="27039"/>
                    <a:pt x="3087964" y="43898"/>
                    <a:pt x="3171403" y="64853"/>
                  </a:cubicBezTo>
                  <a:cubicBezTo>
                    <a:pt x="3338281" y="107049"/>
                    <a:pt x="3499920" y="167247"/>
                    <a:pt x="3654797" y="241446"/>
                  </a:cubicBezTo>
                  <a:cubicBezTo>
                    <a:pt x="3732140" y="278785"/>
                    <a:pt x="3808149" y="318980"/>
                    <a:pt x="3882158" y="362795"/>
                  </a:cubicBezTo>
                  <a:cubicBezTo>
                    <a:pt x="3956358" y="406229"/>
                    <a:pt x="4028844" y="452806"/>
                    <a:pt x="4099138" y="502622"/>
                  </a:cubicBezTo>
                  <a:cubicBezTo>
                    <a:pt x="4239727" y="602254"/>
                    <a:pt x="4373458" y="712553"/>
                    <a:pt x="4497474" y="833902"/>
                  </a:cubicBezTo>
                  <a:cubicBezTo>
                    <a:pt x="4621489" y="955250"/>
                    <a:pt x="4736932" y="1086600"/>
                    <a:pt x="4840659" y="1227856"/>
                  </a:cubicBezTo>
                  <a:cubicBezTo>
                    <a:pt x="4944767" y="1368921"/>
                    <a:pt x="5036684" y="1520083"/>
                    <a:pt x="5115456" y="1679245"/>
                  </a:cubicBezTo>
                  <a:cubicBezTo>
                    <a:pt x="5154508" y="1758970"/>
                    <a:pt x="5189846" y="1840885"/>
                    <a:pt x="5221755" y="1924514"/>
                  </a:cubicBezTo>
                  <a:cubicBezTo>
                    <a:pt x="5229565" y="1945469"/>
                    <a:pt x="5237661" y="1966329"/>
                    <a:pt x="5244710" y="1987665"/>
                  </a:cubicBezTo>
                  <a:lnTo>
                    <a:pt x="5265760" y="2051578"/>
                  </a:lnTo>
                  <a:lnTo>
                    <a:pt x="5284429" y="2116348"/>
                  </a:lnTo>
                  <a:cubicBezTo>
                    <a:pt x="5290525" y="2137969"/>
                    <a:pt x="5295478" y="2159972"/>
                    <a:pt x="5300812" y="2181880"/>
                  </a:cubicBezTo>
                  <a:cubicBezTo>
                    <a:pt x="5341579" y="2357521"/>
                    <a:pt x="5356057" y="2539639"/>
                    <a:pt x="5351485" y="2720233"/>
                  </a:cubicBezTo>
                  <a:cubicBezTo>
                    <a:pt x="5349104" y="2810530"/>
                    <a:pt x="5339674" y="2900731"/>
                    <a:pt x="5323196" y="2989314"/>
                  </a:cubicBezTo>
                  <a:cubicBezTo>
                    <a:pt x="5306622" y="3077896"/>
                    <a:pt x="5283667" y="3164860"/>
                    <a:pt x="5257283" y="3249823"/>
                  </a:cubicBezTo>
                  <a:cubicBezTo>
                    <a:pt x="5230994" y="3334976"/>
                    <a:pt x="5202800" y="3417939"/>
                    <a:pt x="5169462" y="3501664"/>
                  </a:cubicBezTo>
                  <a:cubicBezTo>
                    <a:pt x="5152794" y="3543478"/>
                    <a:pt x="5134696" y="3585388"/>
                    <a:pt x="5114218" y="3626822"/>
                  </a:cubicBezTo>
                  <a:cubicBezTo>
                    <a:pt x="5093358" y="3668161"/>
                    <a:pt x="5070307" y="3709309"/>
                    <a:pt x="5043161" y="3748742"/>
                  </a:cubicBezTo>
                  <a:cubicBezTo>
                    <a:pt x="5016396" y="3788366"/>
                    <a:pt x="4985820" y="3826371"/>
                    <a:pt x="4952197" y="3861232"/>
                  </a:cubicBezTo>
                  <a:cubicBezTo>
                    <a:pt x="4935338" y="3878568"/>
                    <a:pt x="4917812" y="3895332"/>
                    <a:pt x="4899810" y="3911239"/>
                  </a:cubicBezTo>
                  <a:cubicBezTo>
                    <a:pt x="4881807" y="3927050"/>
                    <a:pt x="4863233" y="3941814"/>
                    <a:pt x="4844565" y="3956006"/>
                  </a:cubicBezTo>
                  <a:cubicBezTo>
                    <a:pt x="4769508" y="4012585"/>
                    <a:pt x="4693498" y="4054971"/>
                    <a:pt x="4624251" y="4096976"/>
                  </a:cubicBezTo>
                  <a:cubicBezTo>
                    <a:pt x="4554624" y="4138505"/>
                    <a:pt x="4490425" y="4179748"/>
                    <a:pt x="4430608" y="4225278"/>
                  </a:cubicBezTo>
                  <a:cubicBezTo>
                    <a:pt x="4400509" y="4247852"/>
                    <a:pt x="4371744" y="4271665"/>
                    <a:pt x="4343835" y="4296430"/>
                  </a:cubicBezTo>
                  <a:cubicBezTo>
                    <a:pt x="4315737" y="4321004"/>
                    <a:pt x="4288686" y="4346912"/>
                    <a:pt x="4262301" y="4373678"/>
                  </a:cubicBezTo>
                  <a:cubicBezTo>
                    <a:pt x="4248966" y="4387203"/>
                    <a:pt x="4236489" y="4400443"/>
                    <a:pt x="4222963" y="4414921"/>
                  </a:cubicBezTo>
                  <a:lnTo>
                    <a:pt x="4182482" y="4458831"/>
                  </a:lnTo>
                  <a:lnTo>
                    <a:pt x="4101329" y="4548175"/>
                  </a:lnTo>
                  <a:cubicBezTo>
                    <a:pt x="4046751" y="4607992"/>
                    <a:pt x="3990458" y="4667619"/>
                    <a:pt x="3933498" y="4728007"/>
                  </a:cubicBezTo>
                  <a:cubicBezTo>
                    <a:pt x="3905019" y="4758202"/>
                    <a:pt x="3875967" y="4788206"/>
                    <a:pt x="3846726" y="4818305"/>
                  </a:cubicBezTo>
                  <a:cubicBezTo>
                    <a:pt x="3817293" y="4848213"/>
                    <a:pt x="3787385" y="4878027"/>
                    <a:pt x="3757000" y="4907649"/>
                  </a:cubicBezTo>
                  <a:cubicBezTo>
                    <a:pt x="3696326" y="4966990"/>
                    <a:pt x="3632604" y="5024616"/>
                    <a:pt x="3565547" y="5079480"/>
                  </a:cubicBezTo>
                  <a:cubicBezTo>
                    <a:pt x="3498587" y="5134344"/>
                    <a:pt x="3427626" y="5185969"/>
                    <a:pt x="3352569" y="5231975"/>
                  </a:cubicBezTo>
                  <a:cubicBezTo>
                    <a:pt x="3277512" y="5277886"/>
                    <a:pt x="3197978" y="5317891"/>
                    <a:pt x="3115015" y="5349323"/>
                  </a:cubicBezTo>
                  <a:cubicBezTo>
                    <a:pt x="3032052" y="5380660"/>
                    <a:pt x="2945851" y="5403330"/>
                    <a:pt x="2858697" y="5416284"/>
                  </a:cubicBezTo>
                  <a:cubicBezTo>
                    <a:pt x="2815073" y="5422571"/>
                    <a:pt x="2771353" y="5427047"/>
                    <a:pt x="2727538" y="5428667"/>
                  </a:cubicBezTo>
                  <a:lnTo>
                    <a:pt x="2694772" y="5429714"/>
                  </a:lnTo>
                  <a:lnTo>
                    <a:pt x="2662006" y="5429905"/>
                  </a:lnTo>
                  <a:lnTo>
                    <a:pt x="2598379" y="5428476"/>
                  </a:lnTo>
                  <a:cubicBezTo>
                    <a:pt x="2259575" y="5417141"/>
                    <a:pt x="1922580" y="5342465"/>
                    <a:pt x="1608541" y="5205591"/>
                  </a:cubicBezTo>
                  <a:cubicBezTo>
                    <a:pt x="1530150" y="5171206"/>
                    <a:pt x="1453093" y="5133106"/>
                    <a:pt x="1378417" y="5090815"/>
                  </a:cubicBezTo>
                  <a:cubicBezTo>
                    <a:pt x="1303455" y="5048714"/>
                    <a:pt x="1230779" y="5002518"/>
                    <a:pt x="1160485" y="4952607"/>
                  </a:cubicBezTo>
                  <a:cubicBezTo>
                    <a:pt x="1020086" y="4852690"/>
                    <a:pt x="889022" y="4738961"/>
                    <a:pt x="768245" y="4614565"/>
                  </a:cubicBezTo>
                  <a:cubicBezTo>
                    <a:pt x="647564" y="4490549"/>
                    <a:pt x="536693" y="4353008"/>
                    <a:pt x="440966" y="4206133"/>
                  </a:cubicBezTo>
                  <a:cubicBezTo>
                    <a:pt x="345145" y="4058971"/>
                    <a:pt x="263516" y="3901809"/>
                    <a:pt x="197126" y="3737788"/>
                  </a:cubicBezTo>
                  <a:cubicBezTo>
                    <a:pt x="130642" y="3573768"/>
                    <a:pt x="80540" y="3402604"/>
                    <a:pt x="46631" y="3227915"/>
                  </a:cubicBezTo>
                  <a:cubicBezTo>
                    <a:pt x="29486" y="3140571"/>
                    <a:pt x="17485" y="3052179"/>
                    <a:pt x="9389" y="2963501"/>
                  </a:cubicBezTo>
                  <a:cubicBezTo>
                    <a:pt x="2340" y="2874728"/>
                    <a:pt x="-1470" y="2785574"/>
                    <a:pt x="530" y="2696420"/>
                  </a:cubicBezTo>
                  <a:cubicBezTo>
                    <a:pt x="2054" y="2607361"/>
                    <a:pt x="8341" y="2518398"/>
                    <a:pt x="19104" y="2430006"/>
                  </a:cubicBezTo>
                  <a:cubicBezTo>
                    <a:pt x="29677" y="2341614"/>
                    <a:pt x="44726" y="2253889"/>
                    <a:pt x="63776" y="2167116"/>
                  </a:cubicBezTo>
                  <a:cubicBezTo>
                    <a:pt x="101686" y="1993570"/>
                    <a:pt x="154835" y="1823835"/>
                    <a:pt x="222272" y="1660291"/>
                  </a:cubicBezTo>
                  <a:cubicBezTo>
                    <a:pt x="357242" y="1333297"/>
                    <a:pt x="549932" y="1031736"/>
                    <a:pt x="789677" y="774275"/>
                  </a:cubicBezTo>
                  <a:cubicBezTo>
                    <a:pt x="849875" y="710172"/>
                    <a:pt x="911406" y="647307"/>
                    <a:pt x="976652" y="588252"/>
                  </a:cubicBezTo>
                  <a:cubicBezTo>
                    <a:pt x="1041899" y="529197"/>
                    <a:pt x="1112669" y="476524"/>
                    <a:pt x="1185250" y="427279"/>
                  </a:cubicBezTo>
                  <a:cubicBezTo>
                    <a:pt x="1330697" y="328886"/>
                    <a:pt x="1487383" y="248305"/>
                    <a:pt x="1649689" y="185630"/>
                  </a:cubicBezTo>
                  <a:cubicBezTo>
                    <a:pt x="1811995" y="122765"/>
                    <a:pt x="1979825" y="78474"/>
                    <a:pt x="2148609" y="47803"/>
                  </a:cubicBezTo>
                  <a:cubicBezTo>
                    <a:pt x="2317582" y="17228"/>
                    <a:pt x="2488270" y="1416"/>
                    <a:pt x="2659053" y="83"/>
                  </a:cubicBezTo>
                  <a:close/>
                  <a:moveTo>
                    <a:pt x="2659053" y="196393"/>
                  </a:moveTo>
                  <a:cubicBezTo>
                    <a:pt x="2502272" y="195250"/>
                    <a:pt x="2345395" y="215919"/>
                    <a:pt x="2194614" y="257639"/>
                  </a:cubicBezTo>
                  <a:cubicBezTo>
                    <a:pt x="2043643" y="298978"/>
                    <a:pt x="1899625" y="362224"/>
                    <a:pt x="1764465" y="438328"/>
                  </a:cubicBezTo>
                  <a:cubicBezTo>
                    <a:pt x="1629210" y="514624"/>
                    <a:pt x="1502623" y="604254"/>
                    <a:pt x="1383941" y="702171"/>
                  </a:cubicBezTo>
                  <a:cubicBezTo>
                    <a:pt x="1324410" y="751034"/>
                    <a:pt x="1267736" y="803040"/>
                    <a:pt x="1210682" y="854476"/>
                  </a:cubicBezTo>
                  <a:cubicBezTo>
                    <a:pt x="1153627" y="905911"/>
                    <a:pt x="1098001" y="959346"/>
                    <a:pt x="1046661" y="1016877"/>
                  </a:cubicBezTo>
                  <a:cubicBezTo>
                    <a:pt x="839873" y="1245763"/>
                    <a:pt x="674805" y="1513510"/>
                    <a:pt x="561172" y="1801261"/>
                  </a:cubicBezTo>
                  <a:cubicBezTo>
                    <a:pt x="504308" y="1945088"/>
                    <a:pt x="460397" y="2094059"/>
                    <a:pt x="430679" y="2245602"/>
                  </a:cubicBezTo>
                  <a:cubicBezTo>
                    <a:pt x="415916" y="2321421"/>
                    <a:pt x="404486" y="2397716"/>
                    <a:pt x="396104" y="2474392"/>
                  </a:cubicBezTo>
                  <a:cubicBezTo>
                    <a:pt x="388007" y="2551069"/>
                    <a:pt x="382864" y="2627935"/>
                    <a:pt x="380673" y="2704993"/>
                  </a:cubicBezTo>
                  <a:cubicBezTo>
                    <a:pt x="378768" y="2781955"/>
                    <a:pt x="379340" y="2859107"/>
                    <a:pt x="384102" y="2935974"/>
                  </a:cubicBezTo>
                  <a:cubicBezTo>
                    <a:pt x="387912" y="3012936"/>
                    <a:pt x="395627" y="3089612"/>
                    <a:pt x="405914" y="3166003"/>
                  </a:cubicBezTo>
                  <a:cubicBezTo>
                    <a:pt x="427060" y="3318784"/>
                    <a:pt x="462302" y="3469945"/>
                    <a:pt x="512499" y="3616440"/>
                  </a:cubicBezTo>
                  <a:cubicBezTo>
                    <a:pt x="562601" y="3762934"/>
                    <a:pt x="626609" y="3905047"/>
                    <a:pt x="704047" y="4039826"/>
                  </a:cubicBezTo>
                  <a:cubicBezTo>
                    <a:pt x="742909" y="4107073"/>
                    <a:pt x="784724" y="4172795"/>
                    <a:pt x="829682" y="4236327"/>
                  </a:cubicBezTo>
                  <a:cubicBezTo>
                    <a:pt x="852065" y="4268236"/>
                    <a:pt x="875497" y="4299287"/>
                    <a:pt x="899405" y="4330053"/>
                  </a:cubicBezTo>
                  <a:cubicBezTo>
                    <a:pt x="923693" y="4360723"/>
                    <a:pt x="948458" y="4391108"/>
                    <a:pt x="974081" y="4420826"/>
                  </a:cubicBezTo>
                  <a:cubicBezTo>
                    <a:pt x="1076284" y="4539793"/>
                    <a:pt x="1189346" y="4649522"/>
                    <a:pt x="1310980" y="4748963"/>
                  </a:cubicBezTo>
                  <a:cubicBezTo>
                    <a:pt x="1326410" y="4761155"/>
                    <a:pt x="1341365" y="4773823"/>
                    <a:pt x="1356891" y="4785824"/>
                  </a:cubicBezTo>
                  <a:lnTo>
                    <a:pt x="1403658" y="4821733"/>
                  </a:lnTo>
                  <a:lnTo>
                    <a:pt x="1451093" y="4856785"/>
                  </a:lnTo>
                  <a:lnTo>
                    <a:pt x="1499384" y="4890694"/>
                  </a:lnTo>
                  <a:cubicBezTo>
                    <a:pt x="1564345" y="4934986"/>
                    <a:pt x="1631115" y="4976801"/>
                    <a:pt x="1700076" y="5014995"/>
                  </a:cubicBezTo>
                  <a:cubicBezTo>
                    <a:pt x="1837808" y="5091481"/>
                    <a:pt x="1983445" y="5154918"/>
                    <a:pt x="2135464" y="5198542"/>
                  </a:cubicBezTo>
                  <a:cubicBezTo>
                    <a:pt x="2287388" y="5241976"/>
                    <a:pt x="2444836" y="5266170"/>
                    <a:pt x="2602761" y="5269789"/>
                  </a:cubicBezTo>
                  <a:lnTo>
                    <a:pt x="2661911" y="5270171"/>
                  </a:lnTo>
                  <a:cubicBezTo>
                    <a:pt x="2681056" y="5269885"/>
                    <a:pt x="2700106" y="5269218"/>
                    <a:pt x="2719156" y="5267980"/>
                  </a:cubicBezTo>
                  <a:cubicBezTo>
                    <a:pt x="2757161" y="5265122"/>
                    <a:pt x="2794975" y="5260550"/>
                    <a:pt x="2832122" y="5253216"/>
                  </a:cubicBezTo>
                  <a:cubicBezTo>
                    <a:pt x="2906513" y="5238833"/>
                    <a:pt x="2978617" y="5214926"/>
                    <a:pt x="3046816" y="5182540"/>
                  </a:cubicBezTo>
                  <a:cubicBezTo>
                    <a:pt x="3115205" y="5150346"/>
                    <a:pt x="3179499" y="5109103"/>
                    <a:pt x="3240269" y="5062430"/>
                  </a:cubicBezTo>
                  <a:cubicBezTo>
                    <a:pt x="3301133" y="5015853"/>
                    <a:pt x="3358188" y="4962989"/>
                    <a:pt x="3412957" y="4906887"/>
                  </a:cubicBezTo>
                  <a:cubicBezTo>
                    <a:pt x="3467821" y="4850785"/>
                    <a:pt x="3520018" y="4790873"/>
                    <a:pt x="3571929" y="4729627"/>
                  </a:cubicBezTo>
                  <a:cubicBezTo>
                    <a:pt x="3597837" y="4698956"/>
                    <a:pt x="3623364" y="4667619"/>
                    <a:pt x="3648987" y="4636091"/>
                  </a:cubicBezTo>
                  <a:lnTo>
                    <a:pt x="3726234" y="4540937"/>
                  </a:lnTo>
                  <a:cubicBezTo>
                    <a:pt x="3778146" y="4477214"/>
                    <a:pt x="3830057" y="4412158"/>
                    <a:pt x="3885778" y="4349103"/>
                  </a:cubicBezTo>
                  <a:cubicBezTo>
                    <a:pt x="3913686" y="4317671"/>
                    <a:pt x="3942261" y="4286524"/>
                    <a:pt x="3971694" y="4255758"/>
                  </a:cubicBezTo>
                  <a:lnTo>
                    <a:pt x="4016366" y="4209943"/>
                  </a:lnTo>
                  <a:cubicBezTo>
                    <a:pt x="4031415" y="4194703"/>
                    <a:pt x="4047989" y="4178701"/>
                    <a:pt x="4064277" y="4163461"/>
                  </a:cubicBezTo>
                  <a:cubicBezTo>
                    <a:pt x="4129618" y="4101929"/>
                    <a:pt x="4201437" y="4046303"/>
                    <a:pt x="4276494" y="3997535"/>
                  </a:cubicBezTo>
                  <a:cubicBezTo>
                    <a:pt x="4351455" y="3948672"/>
                    <a:pt x="4430132" y="3907905"/>
                    <a:pt x="4504903" y="3871138"/>
                  </a:cubicBezTo>
                  <a:cubicBezTo>
                    <a:pt x="4542241" y="3852850"/>
                    <a:pt x="4578627" y="3835134"/>
                    <a:pt x="4612821" y="3817132"/>
                  </a:cubicBezTo>
                  <a:cubicBezTo>
                    <a:pt x="4647112" y="3799224"/>
                    <a:pt x="4679401" y="3781127"/>
                    <a:pt x="4708738" y="3761220"/>
                  </a:cubicBezTo>
                  <a:cubicBezTo>
                    <a:pt x="4767793" y="3721786"/>
                    <a:pt x="4815608" y="3674923"/>
                    <a:pt x="4854756" y="3617107"/>
                  </a:cubicBezTo>
                  <a:cubicBezTo>
                    <a:pt x="4893618" y="3559290"/>
                    <a:pt x="4924289" y="3491853"/>
                    <a:pt x="4947244" y="3419558"/>
                  </a:cubicBezTo>
                  <a:cubicBezTo>
                    <a:pt x="4970009" y="3347263"/>
                    <a:pt x="4984582" y="3269349"/>
                    <a:pt x="4992774" y="3192196"/>
                  </a:cubicBezTo>
                  <a:cubicBezTo>
                    <a:pt x="5000679" y="3114758"/>
                    <a:pt x="5002394" y="3037224"/>
                    <a:pt x="5000775" y="2960358"/>
                  </a:cubicBezTo>
                  <a:cubicBezTo>
                    <a:pt x="4998393" y="2883396"/>
                    <a:pt x="4993250" y="2807291"/>
                    <a:pt x="4985916" y="2731567"/>
                  </a:cubicBezTo>
                  <a:cubicBezTo>
                    <a:pt x="4978581" y="2655844"/>
                    <a:pt x="4967437" y="2580691"/>
                    <a:pt x="4951816" y="2506396"/>
                  </a:cubicBezTo>
                  <a:cubicBezTo>
                    <a:pt x="4936385" y="2432006"/>
                    <a:pt x="4918002" y="2358473"/>
                    <a:pt x="4898476" y="2285226"/>
                  </a:cubicBezTo>
                  <a:cubicBezTo>
                    <a:pt x="4859424" y="2138731"/>
                    <a:pt x="4813513" y="1992522"/>
                    <a:pt x="4753315" y="1850791"/>
                  </a:cubicBezTo>
                  <a:cubicBezTo>
                    <a:pt x="4693117" y="1709154"/>
                    <a:pt x="4621489" y="1571137"/>
                    <a:pt x="4539479" y="1438834"/>
                  </a:cubicBezTo>
                  <a:cubicBezTo>
                    <a:pt x="4498236" y="1372826"/>
                    <a:pt x="4454897" y="1307866"/>
                    <a:pt x="4409082" y="1244524"/>
                  </a:cubicBezTo>
                  <a:cubicBezTo>
                    <a:pt x="4363266" y="1181183"/>
                    <a:pt x="4314403" y="1119842"/>
                    <a:pt x="4263635" y="1060120"/>
                  </a:cubicBezTo>
                  <a:cubicBezTo>
                    <a:pt x="4162384" y="940391"/>
                    <a:pt x="4051322" y="828282"/>
                    <a:pt x="3931593" y="726364"/>
                  </a:cubicBezTo>
                  <a:cubicBezTo>
                    <a:pt x="3812150" y="624066"/>
                    <a:pt x="3683467" y="532435"/>
                    <a:pt x="3547164" y="454521"/>
                  </a:cubicBezTo>
                  <a:cubicBezTo>
                    <a:pt x="3530019" y="444996"/>
                    <a:pt x="3512970" y="435185"/>
                    <a:pt x="3495729" y="425946"/>
                  </a:cubicBezTo>
                  <a:lnTo>
                    <a:pt x="3443628" y="398704"/>
                  </a:lnTo>
                  <a:lnTo>
                    <a:pt x="3390669" y="373177"/>
                  </a:lnTo>
                  <a:cubicBezTo>
                    <a:pt x="3372952" y="364795"/>
                    <a:pt x="3354950" y="357175"/>
                    <a:pt x="3337138" y="349079"/>
                  </a:cubicBezTo>
                  <a:cubicBezTo>
                    <a:pt x="3265510" y="317647"/>
                    <a:pt x="3191882" y="290977"/>
                    <a:pt x="3117301" y="268402"/>
                  </a:cubicBezTo>
                  <a:cubicBezTo>
                    <a:pt x="3042720" y="245923"/>
                    <a:pt x="2966711" y="228683"/>
                    <a:pt x="2890130" y="216205"/>
                  </a:cubicBezTo>
                  <a:cubicBezTo>
                    <a:pt x="2813454" y="203918"/>
                    <a:pt x="2736206" y="197346"/>
                    <a:pt x="2659053" y="196393"/>
                  </a:cubicBezTo>
                  <a:close/>
                </a:path>
              </a:pathLst>
            </a:custGeom>
            <a:solidFill>
              <a:schemeClr val="bg1">
                <a:alpha val="30000"/>
              </a:schemeClr>
            </a:solidFill>
            <a:ln w="9525" cap="flat">
              <a:noFill/>
              <a:prstDash val="solid"/>
              <a:miter/>
            </a:ln>
          </p:spPr>
          <p:txBody>
            <a:bodyPr rtlCol="0" anchor="ctr"/>
            <a:lstStyle/>
            <a:p>
              <a:endParaRPr lang="en-US"/>
            </a:p>
          </p:txBody>
        </p:sp>
        <p:sp useBgFill="1">
          <p:nvSpPr>
            <p:cNvPr id="75" name="Freeform: Shape 74">
              <a:extLst>
                <a:ext uri="{FF2B5EF4-FFF2-40B4-BE49-F238E27FC236}">
                  <a16:creationId xmlns:a16="http://schemas.microsoft.com/office/drawing/2014/main" id="{A15F27CE-BCE1-4F23-ADFC-6D7A1CEA34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338512" y="671512"/>
              <a:ext cx="5514975" cy="5514975"/>
            </a:xfrm>
            <a:custGeom>
              <a:avLst/>
              <a:gdLst>
                <a:gd name="connsiteX0" fmla="*/ 2757488 w 5514975"/>
                <a:gd name="connsiteY0" fmla="*/ 0 h 5514975"/>
                <a:gd name="connsiteX1" fmla="*/ 0 w 5514975"/>
                <a:gd name="connsiteY1" fmla="*/ 2757488 h 5514975"/>
                <a:gd name="connsiteX2" fmla="*/ 2757488 w 5514975"/>
                <a:gd name="connsiteY2" fmla="*/ 5514975 h 5514975"/>
                <a:gd name="connsiteX3" fmla="*/ 5514975 w 5514975"/>
                <a:gd name="connsiteY3" fmla="*/ 2757488 h 5514975"/>
                <a:gd name="connsiteX4" fmla="*/ 2757488 w 5514975"/>
                <a:gd name="connsiteY4" fmla="*/ 0 h 5514975"/>
                <a:gd name="connsiteX5" fmla="*/ 4862798 w 5514975"/>
                <a:gd name="connsiteY5" fmla="*/ 1325975 h 5514975"/>
                <a:gd name="connsiteX6" fmla="*/ 4994244 w 5514975"/>
                <a:gd name="connsiteY6" fmla="*/ 1537811 h 5514975"/>
                <a:gd name="connsiteX7" fmla="*/ 5108353 w 5514975"/>
                <a:gd name="connsiteY7" fmla="*/ 1757743 h 5514975"/>
                <a:gd name="connsiteX8" fmla="*/ 5276755 w 5514975"/>
                <a:gd name="connsiteY8" fmla="*/ 2219325 h 5514975"/>
                <a:gd name="connsiteX9" fmla="*/ 5326666 w 5514975"/>
                <a:gd name="connsiteY9" fmla="*/ 2458688 h 5514975"/>
                <a:gd name="connsiteX10" fmla="*/ 5335239 w 5514975"/>
                <a:gd name="connsiteY10" fmla="*/ 2519172 h 5514975"/>
                <a:gd name="connsiteX11" fmla="*/ 5342192 w 5514975"/>
                <a:gd name="connsiteY11" fmla="*/ 2579846 h 5514975"/>
                <a:gd name="connsiteX12" fmla="*/ 5347812 w 5514975"/>
                <a:gd name="connsiteY12" fmla="*/ 2640616 h 5514975"/>
                <a:gd name="connsiteX13" fmla="*/ 5351527 w 5514975"/>
                <a:gd name="connsiteY13" fmla="*/ 2701576 h 5514975"/>
                <a:gd name="connsiteX14" fmla="*/ 5348859 w 5514975"/>
                <a:gd name="connsiteY14" fmla="*/ 2945987 h 5514975"/>
                <a:gd name="connsiteX15" fmla="*/ 5344097 w 5514975"/>
                <a:gd name="connsiteY15" fmla="*/ 3007043 h 5514975"/>
                <a:gd name="connsiteX16" fmla="*/ 5337524 w 5514975"/>
                <a:gd name="connsiteY16" fmla="*/ 3068003 h 5514975"/>
                <a:gd name="connsiteX17" fmla="*/ 5328762 w 5514975"/>
                <a:gd name="connsiteY17" fmla="*/ 3128772 h 5514975"/>
                <a:gd name="connsiteX18" fmla="*/ 5318379 w 5514975"/>
                <a:gd name="connsiteY18" fmla="*/ 3189446 h 5514975"/>
                <a:gd name="connsiteX19" fmla="*/ 5258086 w 5514975"/>
                <a:gd name="connsiteY19" fmla="*/ 3427095 h 5514975"/>
                <a:gd name="connsiteX20" fmla="*/ 5156835 w 5514975"/>
                <a:gd name="connsiteY20" fmla="*/ 3641027 h 5514975"/>
                <a:gd name="connsiteX21" fmla="*/ 4993862 w 5514975"/>
                <a:gd name="connsiteY21" fmla="*/ 3809238 h 5514975"/>
                <a:gd name="connsiteX22" fmla="*/ 4776978 w 5514975"/>
                <a:gd name="connsiteY22" fmla="*/ 3942303 h 5514975"/>
                <a:gd name="connsiteX23" fmla="*/ 4345686 w 5514975"/>
                <a:gd name="connsiteY23" fmla="*/ 4257199 h 5514975"/>
                <a:gd name="connsiteX24" fmla="*/ 4253484 w 5514975"/>
                <a:gd name="connsiteY24" fmla="*/ 4351592 h 5514975"/>
                <a:gd name="connsiteX25" fmla="*/ 4164045 w 5514975"/>
                <a:gd name="connsiteY25" fmla="*/ 4447032 h 5514975"/>
                <a:gd name="connsiteX26" fmla="*/ 3986879 w 5514975"/>
                <a:gd name="connsiteY26" fmla="*/ 4637628 h 5514975"/>
                <a:gd name="connsiteX27" fmla="*/ 3897630 w 5514975"/>
                <a:gd name="connsiteY27" fmla="*/ 4731449 h 5514975"/>
                <a:gd name="connsiteX28" fmla="*/ 3806381 w 5514975"/>
                <a:gd name="connsiteY28" fmla="*/ 4822698 h 5514975"/>
                <a:gd name="connsiteX29" fmla="*/ 3615214 w 5514975"/>
                <a:gd name="connsiteY29" fmla="*/ 4993577 h 5514975"/>
                <a:gd name="connsiteX30" fmla="*/ 3406807 w 5514975"/>
                <a:gd name="connsiteY30" fmla="*/ 5137976 h 5514975"/>
                <a:gd name="connsiteX31" fmla="*/ 3179350 w 5514975"/>
                <a:gd name="connsiteY31" fmla="*/ 5242179 h 5514975"/>
                <a:gd name="connsiteX32" fmla="*/ 3119914 w 5514975"/>
                <a:gd name="connsiteY32" fmla="*/ 5260562 h 5514975"/>
                <a:gd name="connsiteX33" fmla="*/ 3059716 w 5514975"/>
                <a:gd name="connsiteY33" fmla="*/ 5275707 h 5514975"/>
                <a:gd name="connsiteX34" fmla="*/ 2998756 w 5514975"/>
                <a:gd name="connsiteY34" fmla="*/ 5287233 h 5514975"/>
                <a:gd name="connsiteX35" fmla="*/ 2937320 w 5514975"/>
                <a:gd name="connsiteY35" fmla="*/ 5295424 h 5514975"/>
                <a:gd name="connsiteX36" fmla="*/ 2875503 w 5514975"/>
                <a:gd name="connsiteY36" fmla="*/ 5300472 h 5514975"/>
                <a:gd name="connsiteX37" fmla="*/ 2813495 w 5514975"/>
                <a:gd name="connsiteY37" fmla="*/ 5302473 h 5514975"/>
                <a:gd name="connsiteX38" fmla="*/ 2751296 w 5514975"/>
                <a:gd name="connsiteY38" fmla="*/ 5301520 h 5514975"/>
                <a:gd name="connsiteX39" fmla="*/ 2687670 w 5514975"/>
                <a:gd name="connsiteY39" fmla="*/ 5297424 h 5514975"/>
                <a:gd name="connsiteX40" fmla="*/ 2187607 w 5514975"/>
                <a:gd name="connsiteY40" fmla="*/ 5217033 h 5514975"/>
                <a:gd name="connsiteX41" fmla="*/ 2066449 w 5514975"/>
                <a:gd name="connsiteY41" fmla="*/ 5181600 h 5514975"/>
                <a:gd name="connsiteX42" fmla="*/ 1947577 w 5514975"/>
                <a:gd name="connsiteY42" fmla="*/ 5140357 h 5514975"/>
                <a:gd name="connsiteX43" fmla="*/ 1888998 w 5514975"/>
                <a:gd name="connsiteY43" fmla="*/ 5117687 h 5514975"/>
                <a:gd name="connsiteX44" fmla="*/ 1830896 w 5514975"/>
                <a:gd name="connsiteY44" fmla="*/ 5093970 h 5514975"/>
                <a:gd name="connsiteX45" fmla="*/ 1801844 w 5514975"/>
                <a:gd name="connsiteY45" fmla="*/ 5082159 h 5514975"/>
                <a:gd name="connsiteX46" fmla="*/ 1773460 w 5514975"/>
                <a:gd name="connsiteY46" fmla="*/ 5068824 h 5514975"/>
                <a:gd name="connsiteX47" fmla="*/ 1716786 w 5514975"/>
                <a:gd name="connsiteY47" fmla="*/ 5042249 h 5514975"/>
                <a:gd name="connsiteX48" fmla="*/ 920591 w 5514975"/>
                <a:gd name="connsiteY48" fmla="*/ 4456367 h 5514975"/>
                <a:gd name="connsiteX49" fmla="*/ 407480 w 5514975"/>
                <a:gd name="connsiteY49" fmla="*/ 3625024 h 5514975"/>
                <a:gd name="connsiteX50" fmla="*/ 277940 w 5514975"/>
                <a:gd name="connsiteY50" fmla="*/ 3155061 h 5514975"/>
                <a:gd name="connsiteX51" fmla="*/ 237458 w 5514975"/>
                <a:gd name="connsiteY51" fmla="*/ 2669572 h 5514975"/>
                <a:gd name="connsiteX52" fmla="*/ 284417 w 5514975"/>
                <a:gd name="connsiteY52" fmla="*/ 2184083 h 5514975"/>
                <a:gd name="connsiteX53" fmla="*/ 421291 w 5514975"/>
                <a:gd name="connsiteY53" fmla="*/ 1714405 h 5514975"/>
                <a:gd name="connsiteX54" fmla="*/ 938022 w 5514975"/>
                <a:gd name="connsiteY54" fmla="*/ 872681 h 5514975"/>
                <a:gd name="connsiteX55" fmla="*/ 1748123 w 5514975"/>
                <a:gd name="connsiteY55" fmla="*/ 265652 h 5514975"/>
                <a:gd name="connsiteX56" fmla="*/ 1807083 w 5514975"/>
                <a:gd name="connsiteY56" fmla="*/ 239459 h 5514975"/>
                <a:gd name="connsiteX57" fmla="*/ 1866519 w 5514975"/>
                <a:gd name="connsiteY57" fmla="*/ 214122 h 5514975"/>
                <a:gd name="connsiteX58" fmla="*/ 1927003 w 5514975"/>
                <a:gd name="connsiteY58" fmla="*/ 191167 h 5514975"/>
                <a:gd name="connsiteX59" fmla="*/ 1987963 w 5514975"/>
                <a:gd name="connsiteY59" fmla="*/ 169164 h 5514975"/>
                <a:gd name="connsiteX60" fmla="*/ 2049685 w 5514975"/>
                <a:gd name="connsiteY60" fmla="*/ 149352 h 5514975"/>
                <a:gd name="connsiteX61" fmla="*/ 2111788 w 5514975"/>
                <a:gd name="connsiteY61" fmla="*/ 130588 h 5514975"/>
                <a:gd name="connsiteX62" fmla="*/ 2174653 w 5514975"/>
                <a:gd name="connsiteY62" fmla="*/ 114205 h 5514975"/>
                <a:gd name="connsiteX63" fmla="*/ 2206181 w 5514975"/>
                <a:gd name="connsiteY63" fmla="*/ 106109 h 5514975"/>
                <a:gd name="connsiteX64" fmla="*/ 2221897 w 5514975"/>
                <a:gd name="connsiteY64" fmla="*/ 102108 h 5514975"/>
                <a:gd name="connsiteX65" fmla="*/ 2237804 w 5514975"/>
                <a:gd name="connsiteY65" fmla="*/ 98870 h 5514975"/>
                <a:gd name="connsiteX66" fmla="*/ 2755011 w 5514975"/>
                <a:gd name="connsiteY66" fmla="*/ 41529 h 5514975"/>
                <a:gd name="connsiteX67" fmla="*/ 3269552 w 5514975"/>
                <a:gd name="connsiteY67" fmla="*/ 111443 h 5514975"/>
                <a:gd name="connsiteX68" fmla="*/ 3515773 w 5514975"/>
                <a:gd name="connsiteY68" fmla="*/ 193548 h 5514975"/>
                <a:gd name="connsiteX69" fmla="*/ 3750659 w 5514975"/>
                <a:gd name="connsiteY69" fmla="*/ 302038 h 5514975"/>
                <a:gd name="connsiteX70" fmla="*/ 3972592 w 5514975"/>
                <a:gd name="connsiteY70" fmla="*/ 433007 h 5514975"/>
                <a:gd name="connsiteX71" fmla="*/ 4180237 w 5514975"/>
                <a:gd name="connsiteY71" fmla="*/ 583692 h 5514975"/>
                <a:gd name="connsiteX72" fmla="*/ 4373595 w 5514975"/>
                <a:gd name="connsiteY72" fmla="*/ 750189 h 5514975"/>
                <a:gd name="connsiteX73" fmla="*/ 4551712 w 5514975"/>
                <a:gd name="connsiteY73" fmla="*/ 930974 h 5514975"/>
                <a:gd name="connsiteX74" fmla="*/ 4715161 w 5514975"/>
                <a:gd name="connsiteY74" fmla="*/ 1123188 h 5514975"/>
                <a:gd name="connsiteX75" fmla="*/ 4862798 w 5514975"/>
                <a:gd name="connsiteY75" fmla="*/ 1325975 h 551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514975" h="5514975">
                  <a:moveTo>
                    <a:pt x="2757488" y="0"/>
                  </a:moveTo>
                  <a:cubicBezTo>
                    <a:pt x="1234535" y="0"/>
                    <a:pt x="0" y="1234535"/>
                    <a:pt x="0" y="2757488"/>
                  </a:cubicBezTo>
                  <a:cubicBezTo>
                    <a:pt x="0" y="4280440"/>
                    <a:pt x="1234535" y="5514975"/>
                    <a:pt x="2757488" y="5514975"/>
                  </a:cubicBezTo>
                  <a:cubicBezTo>
                    <a:pt x="4280440" y="5514975"/>
                    <a:pt x="5514975" y="4280440"/>
                    <a:pt x="5514975" y="2757488"/>
                  </a:cubicBezTo>
                  <a:cubicBezTo>
                    <a:pt x="5514975" y="1234535"/>
                    <a:pt x="4280440" y="0"/>
                    <a:pt x="2757488" y="0"/>
                  </a:cubicBezTo>
                  <a:close/>
                  <a:moveTo>
                    <a:pt x="4862798" y="1325975"/>
                  </a:moveTo>
                  <a:cubicBezTo>
                    <a:pt x="4909376" y="1395127"/>
                    <a:pt x="4953572" y="1465612"/>
                    <a:pt x="4994244" y="1537811"/>
                  </a:cubicBezTo>
                  <a:cubicBezTo>
                    <a:pt x="5035296" y="1609820"/>
                    <a:pt x="5073301" y="1683258"/>
                    <a:pt x="5108353" y="1757743"/>
                  </a:cubicBezTo>
                  <a:cubicBezTo>
                    <a:pt x="5178267" y="1907000"/>
                    <a:pt x="5234845" y="2061496"/>
                    <a:pt x="5276755" y="2219325"/>
                  </a:cubicBezTo>
                  <a:cubicBezTo>
                    <a:pt x="5297234" y="2298383"/>
                    <a:pt x="5313903" y="2378202"/>
                    <a:pt x="5326666" y="2458688"/>
                  </a:cubicBezTo>
                  <a:cubicBezTo>
                    <a:pt x="5329809" y="2478786"/>
                    <a:pt x="5333143" y="2498884"/>
                    <a:pt x="5335239" y="2519172"/>
                  </a:cubicBezTo>
                  <a:cubicBezTo>
                    <a:pt x="5337524" y="2539365"/>
                    <a:pt x="5340573" y="2559558"/>
                    <a:pt x="5342192" y="2579846"/>
                  </a:cubicBezTo>
                  <a:cubicBezTo>
                    <a:pt x="5344001" y="2600135"/>
                    <a:pt x="5346193" y="2620328"/>
                    <a:pt x="5347812" y="2640616"/>
                  </a:cubicBezTo>
                  <a:lnTo>
                    <a:pt x="5351527" y="2701576"/>
                  </a:lnTo>
                  <a:cubicBezTo>
                    <a:pt x="5354765" y="2782920"/>
                    <a:pt x="5354669" y="2864549"/>
                    <a:pt x="5348859" y="2945987"/>
                  </a:cubicBezTo>
                  <a:cubicBezTo>
                    <a:pt x="5347145" y="2966276"/>
                    <a:pt x="5346573" y="2986754"/>
                    <a:pt x="5344097" y="3007043"/>
                  </a:cubicBezTo>
                  <a:lnTo>
                    <a:pt x="5337524" y="3068003"/>
                  </a:lnTo>
                  <a:lnTo>
                    <a:pt x="5328762" y="3128772"/>
                  </a:lnTo>
                  <a:cubicBezTo>
                    <a:pt x="5325904" y="3149060"/>
                    <a:pt x="5321808" y="3169158"/>
                    <a:pt x="5318379" y="3189446"/>
                  </a:cubicBezTo>
                  <a:cubicBezTo>
                    <a:pt x="5303139" y="3270123"/>
                    <a:pt x="5283899" y="3350609"/>
                    <a:pt x="5258086" y="3427095"/>
                  </a:cubicBezTo>
                  <a:cubicBezTo>
                    <a:pt x="5232273" y="3503581"/>
                    <a:pt x="5200174" y="3576638"/>
                    <a:pt x="5156835" y="3641027"/>
                  </a:cubicBezTo>
                  <a:cubicBezTo>
                    <a:pt x="5114163" y="3706082"/>
                    <a:pt x="5059394" y="3761328"/>
                    <a:pt x="4993862" y="3809238"/>
                  </a:cubicBezTo>
                  <a:cubicBezTo>
                    <a:pt x="4928616" y="3857435"/>
                    <a:pt x="4853083" y="3898487"/>
                    <a:pt x="4776978" y="3942303"/>
                  </a:cubicBezTo>
                  <a:cubicBezTo>
                    <a:pt x="4623245" y="4028123"/>
                    <a:pt x="4471797" y="4131564"/>
                    <a:pt x="4345686" y="4257199"/>
                  </a:cubicBezTo>
                  <a:cubicBezTo>
                    <a:pt x="4313587" y="4288441"/>
                    <a:pt x="4283488" y="4319873"/>
                    <a:pt x="4253484" y="4351592"/>
                  </a:cubicBezTo>
                  <a:lnTo>
                    <a:pt x="4164045" y="4447032"/>
                  </a:lnTo>
                  <a:cubicBezTo>
                    <a:pt x="4104799" y="4510755"/>
                    <a:pt x="4046220" y="4574667"/>
                    <a:pt x="3986879" y="4637628"/>
                  </a:cubicBezTo>
                  <a:cubicBezTo>
                    <a:pt x="3957257" y="4669155"/>
                    <a:pt x="3927634" y="4700492"/>
                    <a:pt x="3897630" y="4731449"/>
                  </a:cubicBezTo>
                  <a:cubicBezTo>
                    <a:pt x="3867626" y="4762405"/>
                    <a:pt x="3837146" y="4792790"/>
                    <a:pt x="3806381" y="4822698"/>
                  </a:cubicBezTo>
                  <a:cubicBezTo>
                    <a:pt x="3745040" y="4882706"/>
                    <a:pt x="3681508" y="4940142"/>
                    <a:pt x="3615214" y="4993577"/>
                  </a:cubicBezTo>
                  <a:cubicBezTo>
                    <a:pt x="3549110" y="5047203"/>
                    <a:pt x="3479387" y="5095494"/>
                    <a:pt x="3406807" y="5137976"/>
                  </a:cubicBezTo>
                  <a:cubicBezTo>
                    <a:pt x="3334036" y="5179981"/>
                    <a:pt x="3258026" y="5215605"/>
                    <a:pt x="3179350" y="5242179"/>
                  </a:cubicBezTo>
                  <a:cubicBezTo>
                    <a:pt x="3159728" y="5249037"/>
                    <a:pt x="3139631" y="5254371"/>
                    <a:pt x="3119914" y="5260562"/>
                  </a:cubicBezTo>
                  <a:cubicBezTo>
                    <a:pt x="3099911" y="5265992"/>
                    <a:pt x="3079718" y="5270659"/>
                    <a:pt x="3059716" y="5275707"/>
                  </a:cubicBezTo>
                  <a:cubicBezTo>
                    <a:pt x="3039332" y="5279612"/>
                    <a:pt x="3019044" y="5283613"/>
                    <a:pt x="2998756" y="5287233"/>
                  </a:cubicBezTo>
                  <a:cubicBezTo>
                    <a:pt x="2978182" y="5289899"/>
                    <a:pt x="2957798" y="5293138"/>
                    <a:pt x="2937320" y="5295424"/>
                  </a:cubicBezTo>
                  <a:cubicBezTo>
                    <a:pt x="2916650" y="5297043"/>
                    <a:pt x="2896172" y="5299329"/>
                    <a:pt x="2875503" y="5300472"/>
                  </a:cubicBezTo>
                  <a:cubicBezTo>
                    <a:pt x="2854833" y="5301044"/>
                    <a:pt x="2834164" y="5302282"/>
                    <a:pt x="2813495" y="5302473"/>
                  </a:cubicBezTo>
                  <a:cubicBezTo>
                    <a:pt x="2792730" y="5302092"/>
                    <a:pt x="2772156" y="5302092"/>
                    <a:pt x="2751296" y="5301520"/>
                  </a:cubicBezTo>
                  <a:lnTo>
                    <a:pt x="2687670" y="5297424"/>
                  </a:lnTo>
                  <a:cubicBezTo>
                    <a:pt x="2518124" y="5286756"/>
                    <a:pt x="2350484" y="5259419"/>
                    <a:pt x="2187607" y="5217033"/>
                  </a:cubicBezTo>
                  <a:lnTo>
                    <a:pt x="2066449" y="5181600"/>
                  </a:lnTo>
                  <a:cubicBezTo>
                    <a:pt x="2026539" y="5168646"/>
                    <a:pt x="1987201" y="5153883"/>
                    <a:pt x="1947577" y="5140357"/>
                  </a:cubicBezTo>
                  <a:cubicBezTo>
                    <a:pt x="1927670" y="5133975"/>
                    <a:pt x="1908429" y="5125498"/>
                    <a:pt x="1888998" y="5117687"/>
                  </a:cubicBezTo>
                  <a:lnTo>
                    <a:pt x="1830896" y="5093970"/>
                  </a:lnTo>
                  <a:lnTo>
                    <a:pt x="1801844" y="5082159"/>
                  </a:lnTo>
                  <a:lnTo>
                    <a:pt x="1773460" y="5068824"/>
                  </a:lnTo>
                  <a:lnTo>
                    <a:pt x="1716786" y="5042249"/>
                  </a:lnTo>
                  <a:cubicBezTo>
                    <a:pt x="1416463" y="4897279"/>
                    <a:pt x="1144429" y="4698492"/>
                    <a:pt x="920591" y="4456367"/>
                  </a:cubicBezTo>
                  <a:cubicBezTo>
                    <a:pt x="696754" y="4214241"/>
                    <a:pt x="523494" y="3929444"/>
                    <a:pt x="407480" y="3625024"/>
                  </a:cubicBezTo>
                  <a:cubicBezTo>
                    <a:pt x="349853" y="3472624"/>
                    <a:pt x="305657" y="3315272"/>
                    <a:pt x="277940" y="3155061"/>
                  </a:cubicBezTo>
                  <a:cubicBezTo>
                    <a:pt x="249936" y="2994946"/>
                    <a:pt x="236220" y="2832354"/>
                    <a:pt x="237458" y="2669572"/>
                  </a:cubicBezTo>
                  <a:cubicBezTo>
                    <a:pt x="238316" y="2506790"/>
                    <a:pt x="254032" y="2344198"/>
                    <a:pt x="284417" y="2184083"/>
                  </a:cubicBezTo>
                  <a:cubicBezTo>
                    <a:pt x="314897" y="2023967"/>
                    <a:pt x="361664" y="1866805"/>
                    <a:pt x="421291" y="1714405"/>
                  </a:cubicBezTo>
                  <a:cubicBezTo>
                    <a:pt x="541020" y="1409510"/>
                    <a:pt x="714375" y="1122426"/>
                    <a:pt x="938022" y="872681"/>
                  </a:cubicBezTo>
                  <a:cubicBezTo>
                    <a:pt x="1161002" y="623030"/>
                    <a:pt x="1435894" y="410909"/>
                    <a:pt x="1748123" y="265652"/>
                  </a:cubicBezTo>
                  <a:lnTo>
                    <a:pt x="1807083" y="239459"/>
                  </a:lnTo>
                  <a:cubicBezTo>
                    <a:pt x="1826800" y="230886"/>
                    <a:pt x="1846231" y="221361"/>
                    <a:pt x="1866519" y="214122"/>
                  </a:cubicBezTo>
                  <a:lnTo>
                    <a:pt x="1927003" y="191167"/>
                  </a:lnTo>
                  <a:cubicBezTo>
                    <a:pt x="1947291" y="183737"/>
                    <a:pt x="1967198" y="175355"/>
                    <a:pt x="1987963" y="169164"/>
                  </a:cubicBezTo>
                  <a:lnTo>
                    <a:pt x="2049685" y="149352"/>
                  </a:lnTo>
                  <a:cubicBezTo>
                    <a:pt x="2070354" y="142970"/>
                    <a:pt x="2090738" y="135541"/>
                    <a:pt x="2111788" y="130588"/>
                  </a:cubicBezTo>
                  <a:lnTo>
                    <a:pt x="2174653" y="114205"/>
                  </a:lnTo>
                  <a:lnTo>
                    <a:pt x="2206181" y="106109"/>
                  </a:lnTo>
                  <a:lnTo>
                    <a:pt x="2221897" y="102108"/>
                  </a:lnTo>
                  <a:lnTo>
                    <a:pt x="2237804" y="98870"/>
                  </a:lnTo>
                  <a:cubicBezTo>
                    <a:pt x="2407158" y="61246"/>
                    <a:pt x="2580989" y="42101"/>
                    <a:pt x="2755011" y="41529"/>
                  </a:cubicBezTo>
                  <a:cubicBezTo>
                    <a:pt x="2928747" y="41339"/>
                    <a:pt x="3102197" y="66389"/>
                    <a:pt x="3269552" y="111443"/>
                  </a:cubicBezTo>
                  <a:cubicBezTo>
                    <a:pt x="3353276" y="133826"/>
                    <a:pt x="3435477" y="161544"/>
                    <a:pt x="3515773" y="193548"/>
                  </a:cubicBezTo>
                  <a:cubicBezTo>
                    <a:pt x="3596259" y="225076"/>
                    <a:pt x="3674459" y="261938"/>
                    <a:pt x="3750659" y="302038"/>
                  </a:cubicBezTo>
                  <a:cubicBezTo>
                    <a:pt x="3826955" y="341948"/>
                    <a:pt x="3900773" y="386239"/>
                    <a:pt x="3972592" y="433007"/>
                  </a:cubicBezTo>
                  <a:cubicBezTo>
                    <a:pt x="4044220" y="480155"/>
                    <a:pt x="4113371" y="530733"/>
                    <a:pt x="4180237" y="583692"/>
                  </a:cubicBezTo>
                  <a:cubicBezTo>
                    <a:pt x="4247103" y="636651"/>
                    <a:pt x="4311587" y="692277"/>
                    <a:pt x="4373595" y="750189"/>
                  </a:cubicBezTo>
                  <a:cubicBezTo>
                    <a:pt x="4435698" y="808006"/>
                    <a:pt x="4494657" y="868871"/>
                    <a:pt x="4551712" y="930974"/>
                  </a:cubicBezTo>
                  <a:cubicBezTo>
                    <a:pt x="4608672" y="993267"/>
                    <a:pt x="4663250" y="1057370"/>
                    <a:pt x="4715161" y="1123188"/>
                  </a:cubicBezTo>
                  <a:cubicBezTo>
                    <a:pt x="4766691" y="1189387"/>
                    <a:pt x="4816316" y="1256729"/>
                    <a:pt x="4862798" y="1325975"/>
                  </a:cubicBezTo>
                  <a:close/>
                </a:path>
              </a:pathLst>
            </a:custGeom>
            <a:ln w="9525" cap="flat">
              <a:noFill/>
              <a:prstDash val="solid"/>
              <a:miter/>
            </a:ln>
          </p:spPr>
          <p:txBody>
            <a:bodyPr rtlCol="0" anchor="ctr"/>
            <a:lstStyle/>
            <a:p>
              <a:endParaRPr lang="en-US"/>
            </a:p>
          </p:txBody>
        </p:sp>
      </p:grpSp>
      <p:grpSp>
        <p:nvGrpSpPr>
          <p:cNvPr id="77" name="Group 76">
            <a:extLst>
              <a:ext uri="{FF2B5EF4-FFF2-40B4-BE49-F238E27FC236}">
                <a16:creationId xmlns:a16="http://schemas.microsoft.com/office/drawing/2014/main" id="{1616FA42-3839-4D06-805D-DB21EE1E14F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909255" y="0"/>
            <a:ext cx="4298610" cy="3888416"/>
            <a:chOff x="7895898" y="10262"/>
            <a:chExt cx="4298610" cy="3888416"/>
          </a:xfrm>
        </p:grpSpPr>
        <p:sp>
          <p:nvSpPr>
            <p:cNvPr id="78" name="Freeform: Shape 77">
              <a:extLst>
                <a:ext uri="{FF2B5EF4-FFF2-40B4-BE49-F238E27FC236}">
                  <a16:creationId xmlns:a16="http://schemas.microsoft.com/office/drawing/2014/main" id="{12742DE5-3F0D-491D-9589-86BADC28DF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967193" y="10262"/>
              <a:ext cx="4227314" cy="3793817"/>
            </a:xfrm>
            <a:custGeom>
              <a:avLst/>
              <a:gdLst>
                <a:gd name="connsiteX0" fmla="*/ 3838712 w 4357350"/>
                <a:gd name="connsiteY0" fmla="*/ 0 h 3735720"/>
                <a:gd name="connsiteX1" fmla="*/ 4357350 w 4357350"/>
                <a:gd name="connsiteY1" fmla="*/ 0 h 3735720"/>
                <a:gd name="connsiteX2" fmla="*/ 4357350 w 4357350"/>
                <a:gd name="connsiteY2" fmla="*/ 406110 h 3735720"/>
                <a:gd name="connsiteX3" fmla="*/ 4191121 w 4357350"/>
                <a:gd name="connsiteY3" fmla="*/ 279485 h 3735720"/>
                <a:gd name="connsiteX4" fmla="*/ 4011624 w 4357350"/>
                <a:gd name="connsiteY4" fmla="*/ 143044 h 3735720"/>
                <a:gd name="connsiteX5" fmla="*/ 383925 w 4357350"/>
                <a:gd name="connsiteY5" fmla="*/ 0 h 3735720"/>
                <a:gd name="connsiteX6" fmla="*/ 720102 w 4357350"/>
                <a:gd name="connsiteY6" fmla="*/ 0 h 3735720"/>
                <a:gd name="connsiteX7" fmla="*/ 646935 w 4357350"/>
                <a:gd name="connsiteY7" fmla="*/ 95348 h 3735720"/>
                <a:gd name="connsiteX8" fmla="*/ 531641 w 4357350"/>
                <a:gd name="connsiteY8" fmla="*/ 274206 h 3735720"/>
                <a:gd name="connsiteX9" fmla="*/ 361658 w 4357350"/>
                <a:gd name="connsiteY9" fmla="*/ 654605 h 3735720"/>
                <a:gd name="connsiteX10" fmla="*/ 302667 w 4357350"/>
                <a:gd name="connsiteY10" fmla="*/ 1052217 h 3735720"/>
                <a:gd name="connsiteX11" fmla="*/ 375286 w 4357350"/>
                <a:gd name="connsiteY11" fmla="*/ 1439430 h 3735720"/>
                <a:gd name="connsiteX12" fmla="*/ 515414 w 4357350"/>
                <a:gd name="connsiteY12" fmla="*/ 1878283 h 3735720"/>
                <a:gd name="connsiteX13" fmla="*/ 621743 w 4357350"/>
                <a:gd name="connsiteY13" fmla="*/ 2315074 h 3735720"/>
                <a:gd name="connsiteX14" fmla="*/ 636177 w 4357350"/>
                <a:gd name="connsiteY14" fmla="*/ 2365548 h 3735720"/>
                <a:gd name="connsiteX15" fmla="*/ 651597 w 4357350"/>
                <a:gd name="connsiteY15" fmla="*/ 2414589 h 3735720"/>
                <a:gd name="connsiteX16" fmla="*/ 668453 w 4357350"/>
                <a:gd name="connsiteY16" fmla="*/ 2461926 h 3735720"/>
                <a:gd name="connsiteX17" fmla="*/ 688085 w 4357350"/>
                <a:gd name="connsiteY17" fmla="*/ 2506842 h 3735720"/>
                <a:gd name="connsiteX18" fmla="*/ 791187 w 4357350"/>
                <a:gd name="connsiteY18" fmla="*/ 2674225 h 3735720"/>
                <a:gd name="connsiteX19" fmla="*/ 931225 w 4357350"/>
                <a:gd name="connsiteY19" fmla="*/ 2827711 h 3735720"/>
                <a:gd name="connsiteX20" fmla="*/ 970315 w 4357350"/>
                <a:gd name="connsiteY20" fmla="*/ 2863931 h 3735720"/>
                <a:gd name="connsiteX21" fmla="*/ 1010300 w 4357350"/>
                <a:gd name="connsiteY21" fmla="*/ 2899345 h 3735720"/>
                <a:gd name="connsiteX22" fmla="*/ 1051271 w 4357350"/>
                <a:gd name="connsiteY22" fmla="*/ 2933324 h 3735720"/>
                <a:gd name="connsiteX23" fmla="*/ 1092961 w 4357350"/>
                <a:gd name="connsiteY23" fmla="*/ 2966316 h 3735720"/>
                <a:gd name="connsiteX24" fmla="*/ 1135725 w 4357350"/>
                <a:gd name="connsiteY24" fmla="*/ 2997605 h 3735720"/>
                <a:gd name="connsiteX25" fmla="*/ 1179028 w 4357350"/>
                <a:gd name="connsiteY25" fmla="*/ 3027908 h 3735720"/>
                <a:gd name="connsiteX26" fmla="*/ 1189787 w 4357350"/>
                <a:gd name="connsiteY26" fmla="*/ 3035528 h 3735720"/>
                <a:gd name="connsiteX27" fmla="*/ 1200903 w 4357350"/>
                <a:gd name="connsiteY27" fmla="*/ 3042521 h 3735720"/>
                <a:gd name="connsiteX28" fmla="*/ 1223227 w 4357350"/>
                <a:gd name="connsiteY28" fmla="*/ 3056507 h 3735720"/>
                <a:gd name="connsiteX29" fmla="*/ 1267785 w 4357350"/>
                <a:gd name="connsiteY29" fmla="*/ 3084300 h 3735720"/>
                <a:gd name="connsiteX30" fmla="*/ 1359231 w 4357350"/>
                <a:gd name="connsiteY30" fmla="*/ 3135043 h 3735720"/>
                <a:gd name="connsiteX31" fmla="*/ 1452918 w 4357350"/>
                <a:gd name="connsiteY31" fmla="*/ 3180319 h 3735720"/>
                <a:gd name="connsiteX32" fmla="*/ 1844883 w 4357350"/>
                <a:gd name="connsiteY32" fmla="*/ 3312288 h 3735720"/>
                <a:gd name="connsiteX33" fmla="*/ 2259350 w 4357350"/>
                <a:gd name="connsiteY33" fmla="*/ 3380783 h 3735720"/>
                <a:gd name="connsiteX34" fmla="*/ 2312514 w 4357350"/>
                <a:gd name="connsiteY34" fmla="*/ 3385804 h 3735720"/>
                <a:gd name="connsiteX35" fmla="*/ 2339142 w 4357350"/>
                <a:gd name="connsiteY35" fmla="*/ 3388404 h 3735720"/>
                <a:gd name="connsiteX36" fmla="*/ 2365947 w 4357350"/>
                <a:gd name="connsiteY36" fmla="*/ 3389928 h 3735720"/>
                <a:gd name="connsiteX37" fmla="*/ 2419650 w 4357350"/>
                <a:gd name="connsiteY37" fmla="*/ 3393514 h 3735720"/>
                <a:gd name="connsiteX38" fmla="*/ 2473173 w 4357350"/>
                <a:gd name="connsiteY38" fmla="*/ 3396472 h 3735720"/>
                <a:gd name="connsiteX39" fmla="*/ 2526158 w 4357350"/>
                <a:gd name="connsiteY39" fmla="*/ 3398086 h 3735720"/>
                <a:gd name="connsiteX40" fmla="*/ 2579323 w 4357350"/>
                <a:gd name="connsiteY40" fmla="*/ 3399700 h 3735720"/>
                <a:gd name="connsiteX41" fmla="*/ 2685831 w 4357350"/>
                <a:gd name="connsiteY41" fmla="*/ 3398445 h 3735720"/>
                <a:gd name="connsiteX42" fmla="*/ 2792429 w 4357350"/>
                <a:gd name="connsiteY42" fmla="*/ 3392349 h 3735720"/>
                <a:gd name="connsiteX43" fmla="*/ 2898847 w 4357350"/>
                <a:gd name="connsiteY43" fmla="*/ 3380962 h 3735720"/>
                <a:gd name="connsiteX44" fmla="*/ 2925384 w 4357350"/>
                <a:gd name="connsiteY44" fmla="*/ 3377196 h 3735720"/>
                <a:gd name="connsiteX45" fmla="*/ 2951832 w 4357350"/>
                <a:gd name="connsiteY45" fmla="*/ 3372894 h 3735720"/>
                <a:gd name="connsiteX46" fmla="*/ 3004817 w 4357350"/>
                <a:gd name="connsiteY46" fmla="*/ 3364286 h 3735720"/>
                <a:gd name="connsiteX47" fmla="*/ 3057444 w 4357350"/>
                <a:gd name="connsiteY47" fmla="*/ 3353528 h 3735720"/>
                <a:gd name="connsiteX48" fmla="*/ 3109891 w 4357350"/>
                <a:gd name="connsiteY48" fmla="*/ 3341784 h 3735720"/>
                <a:gd name="connsiteX49" fmla="*/ 3514048 w 4357350"/>
                <a:gd name="connsiteY49" fmla="*/ 3194125 h 3735720"/>
                <a:gd name="connsiteX50" fmla="*/ 3875978 w 4357350"/>
                <a:gd name="connsiteY50" fmla="*/ 2961385 h 3735720"/>
                <a:gd name="connsiteX51" fmla="*/ 3958549 w 4357350"/>
                <a:gd name="connsiteY51" fmla="*/ 2892531 h 3735720"/>
                <a:gd name="connsiteX52" fmla="*/ 3978900 w 4357350"/>
                <a:gd name="connsiteY52" fmla="*/ 2875048 h 3735720"/>
                <a:gd name="connsiteX53" fmla="*/ 3989121 w 4357350"/>
                <a:gd name="connsiteY53" fmla="*/ 2866352 h 3735720"/>
                <a:gd name="connsiteX54" fmla="*/ 3998893 w 4357350"/>
                <a:gd name="connsiteY54" fmla="*/ 2857118 h 3735720"/>
                <a:gd name="connsiteX55" fmla="*/ 4038072 w 4357350"/>
                <a:gd name="connsiteY55" fmla="*/ 2820360 h 3735720"/>
                <a:gd name="connsiteX56" fmla="*/ 4057616 w 4357350"/>
                <a:gd name="connsiteY56" fmla="*/ 2801981 h 3735720"/>
                <a:gd name="connsiteX57" fmla="*/ 4067388 w 4357350"/>
                <a:gd name="connsiteY57" fmla="*/ 2792837 h 3735720"/>
                <a:gd name="connsiteX58" fmla="*/ 4076712 w 4357350"/>
                <a:gd name="connsiteY58" fmla="*/ 2783154 h 3735720"/>
                <a:gd name="connsiteX59" fmla="*/ 4113919 w 4357350"/>
                <a:gd name="connsiteY59" fmla="*/ 2744513 h 3735720"/>
                <a:gd name="connsiteX60" fmla="*/ 4150587 w 4357350"/>
                <a:gd name="connsiteY60" fmla="*/ 2705335 h 3735720"/>
                <a:gd name="connsiteX61" fmla="*/ 4185372 w 4357350"/>
                <a:gd name="connsiteY61" fmla="*/ 2664633 h 3735720"/>
                <a:gd name="connsiteX62" fmla="*/ 4219889 w 4357350"/>
                <a:gd name="connsiteY62" fmla="*/ 2623660 h 3735720"/>
                <a:gd name="connsiteX63" fmla="*/ 4252612 w 4357350"/>
                <a:gd name="connsiteY63" fmla="*/ 2581344 h 3735720"/>
                <a:gd name="connsiteX64" fmla="*/ 4285515 w 4357350"/>
                <a:gd name="connsiteY64" fmla="*/ 2539208 h 3735720"/>
                <a:gd name="connsiteX65" fmla="*/ 4316714 w 4357350"/>
                <a:gd name="connsiteY65" fmla="*/ 2495815 h 3735720"/>
                <a:gd name="connsiteX66" fmla="*/ 4348452 w 4357350"/>
                <a:gd name="connsiteY66" fmla="*/ 2452782 h 3735720"/>
                <a:gd name="connsiteX67" fmla="*/ 4357350 w 4357350"/>
                <a:gd name="connsiteY67" fmla="*/ 2439713 h 3735720"/>
                <a:gd name="connsiteX68" fmla="*/ 4357350 w 4357350"/>
                <a:gd name="connsiteY68" fmla="*/ 2838234 h 3735720"/>
                <a:gd name="connsiteX69" fmla="*/ 4330521 w 4357350"/>
                <a:gd name="connsiteY69" fmla="*/ 2867339 h 3735720"/>
                <a:gd name="connsiteX70" fmla="*/ 4288832 w 4357350"/>
                <a:gd name="connsiteY70" fmla="*/ 2909565 h 3735720"/>
                <a:gd name="connsiteX71" fmla="*/ 4247054 w 4357350"/>
                <a:gd name="connsiteY71" fmla="*/ 2951613 h 3735720"/>
                <a:gd name="connsiteX72" fmla="*/ 4236564 w 4357350"/>
                <a:gd name="connsiteY72" fmla="*/ 2962102 h 3735720"/>
                <a:gd name="connsiteX73" fmla="*/ 4225626 w 4357350"/>
                <a:gd name="connsiteY73" fmla="*/ 2972143 h 3735720"/>
                <a:gd name="connsiteX74" fmla="*/ 4203840 w 4357350"/>
                <a:gd name="connsiteY74" fmla="*/ 2992226 h 3735720"/>
                <a:gd name="connsiteX75" fmla="*/ 4115084 w 4357350"/>
                <a:gd name="connsiteY75" fmla="*/ 3070851 h 3735720"/>
                <a:gd name="connsiteX76" fmla="*/ 4022472 w 4357350"/>
                <a:gd name="connsiteY76" fmla="*/ 3144995 h 3735720"/>
                <a:gd name="connsiteX77" fmla="*/ 3621543 w 4357350"/>
                <a:gd name="connsiteY77" fmla="*/ 3398445 h 3735720"/>
                <a:gd name="connsiteX78" fmla="*/ 3184035 w 4357350"/>
                <a:gd name="connsiteY78" fmla="*/ 3587434 h 3735720"/>
                <a:gd name="connsiteX79" fmla="*/ 3127105 w 4357350"/>
                <a:gd name="connsiteY79" fmla="*/ 3606082 h 3735720"/>
                <a:gd name="connsiteX80" fmla="*/ 3069816 w 4357350"/>
                <a:gd name="connsiteY80" fmla="*/ 3624102 h 3735720"/>
                <a:gd name="connsiteX81" fmla="*/ 2953894 w 4357350"/>
                <a:gd name="connsiteY81" fmla="*/ 3656377 h 3735720"/>
                <a:gd name="connsiteX82" fmla="*/ 2836269 w 4357350"/>
                <a:gd name="connsiteY82" fmla="*/ 3683542 h 3735720"/>
                <a:gd name="connsiteX83" fmla="*/ 2717210 w 4357350"/>
                <a:gd name="connsiteY83" fmla="*/ 3705507 h 3735720"/>
                <a:gd name="connsiteX84" fmla="*/ 2596895 w 4357350"/>
                <a:gd name="connsiteY84" fmla="*/ 3721376 h 3735720"/>
                <a:gd name="connsiteX85" fmla="*/ 2475773 w 4357350"/>
                <a:gd name="connsiteY85" fmla="*/ 3731238 h 3735720"/>
                <a:gd name="connsiteX86" fmla="*/ 2415616 w 4357350"/>
                <a:gd name="connsiteY86" fmla="*/ 3733838 h 3735720"/>
                <a:gd name="connsiteX87" fmla="*/ 2355638 w 4357350"/>
                <a:gd name="connsiteY87" fmla="*/ 3735272 h 3735720"/>
                <a:gd name="connsiteX88" fmla="*/ 2325604 w 4357350"/>
                <a:gd name="connsiteY88" fmla="*/ 3735720 h 3735720"/>
                <a:gd name="connsiteX89" fmla="*/ 2295481 w 4357350"/>
                <a:gd name="connsiteY89" fmla="*/ 3735092 h 3735720"/>
                <a:gd name="connsiteX90" fmla="*/ 2235144 w 4357350"/>
                <a:gd name="connsiteY90" fmla="*/ 3733479 h 3735720"/>
                <a:gd name="connsiteX91" fmla="*/ 1752451 w 4357350"/>
                <a:gd name="connsiteY91" fmla="*/ 3662653 h 3735720"/>
                <a:gd name="connsiteX92" fmla="*/ 1296832 w 4357350"/>
                <a:gd name="connsiteY92" fmla="*/ 3474382 h 3735720"/>
                <a:gd name="connsiteX93" fmla="*/ 1192207 w 4357350"/>
                <a:gd name="connsiteY93" fmla="*/ 3409921 h 3735720"/>
                <a:gd name="connsiteX94" fmla="*/ 1092153 w 4357350"/>
                <a:gd name="connsiteY94" fmla="*/ 3339632 h 3735720"/>
                <a:gd name="connsiteX95" fmla="*/ 1044010 w 4357350"/>
                <a:gd name="connsiteY95" fmla="*/ 3302426 h 3735720"/>
                <a:gd name="connsiteX96" fmla="*/ 1019983 w 4357350"/>
                <a:gd name="connsiteY96" fmla="*/ 3283868 h 3735720"/>
                <a:gd name="connsiteX97" fmla="*/ 1007969 w 4357350"/>
                <a:gd name="connsiteY97" fmla="*/ 3274544 h 3735720"/>
                <a:gd name="connsiteX98" fmla="*/ 996403 w 4357350"/>
                <a:gd name="connsiteY98" fmla="*/ 3264772 h 3735720"/>
                <a:gd name="connsiteX99" fmla="*/ 950412 w 4357350"/>
                <a:gd name="connsiteY99" fmla="*/ 3225593 h 3735720"/>
                <a:gd name="connsiteX100" fmla="*/ 905137 w 4357350"/>
                <a:gd name="connsiteY100" fmla="*/ 3185966 h 3735720"/>
                <a:gd name="connsiteX101" fmla="*/ 861117 w 4357350"/>
                <a:gd name="connsiteY101" fmla="*/ 3145174 h 3735720"/>
                <a:gd name="connsiteX102" fmla="*/ 817635 w 4357350"/>
                <a:gd name="connsiteY102" fmla="*/ 3104023 h 3735720"/>
                <a:gd name="connsiteX103" fmla="*/ 775409 w 4357350"/>
                <a:gd name="connsiteY103" fmla="*/ 3061886 h 3735720"/>
                <a:gd name="connsiteX104" fmla="*/ 733631 w 4357350"/>
                <a:gd name="connsiteY104" fmla="*/ 3019301 h 3735720"/>
                <a:gd name="connsiteX105" fmla="*/ 574675 w 4357350"/>
                <a:gd name="connsiteY105" fmla="*/ 2835063 h 3735720"/>
                <a:gd name="connsiteX106" fmla="*/ 442077 w 4357350"/>
                <a:gd name="connsiteY106" fmla="*/ 2619806 h 3735720"/>
                <a:gd name="connsiteX107" fmla="*/ 415720 w 4357350"/>
                <a:gd name="connsiteY107" fmla="*/ 2562159 h 3735720"/>
                <a:gd name="connsiteX108" fmla="*/ 393216 w 4357350"/>
                <a:gd name="connsiteY108" fmla="*/ 2504242 h 3735720"/>
                <a:gd name="connsiteX109" fmla="*/ 373134 w 4357350"/>
                <a:gd name="connsiteY109" fmla="*/ 2446684 h 3735720"/>
                <a:gd name="connsiteX110" fmla="*/ 354935 w 4357350"/>
                <a:gd name="connsiteY110" fmla="*/ 2389755 h 3735720"/>
                <a:gd name="connsiteX111" fmla="*/ 338080 w 4357350"/>
                <a:gd name="connsiteY111" fmla="*/ 2333542 h 3735720"/>
                <a:gd name="connsiteX112" fmla="*/ 322480 w 4357350"/>
                <a:gd name="connsiteY112" fmla="*/ 2278496 h 3735720"/>
                <a:gd name="connsiteX113" fmla="*/ 291998 w 4357350"/>
                <a:gd name="connsiteY113" fmla="*/ 2170015 h 3735720"/>
                <a:gd name="connsiteX114" fmla="*/ 261337 w 4357350"/>
                <a:gd name="connsiteY114" fmla="*/ 2063596 h 3735720"/>
                <a:gd name="connsiteX115" fmla="*/ 229599 w 4357350"/>
                <a:gd name="connsiteY115" fmla="*/ 1958522 h 3735720"/>
                <a:gd name="connsiteX116" fmla="*/ 87051 w 4357350"/>
                <a:gd name="connsiteY116" fmla="*/ 1544414 h 3735720"/>
                <a:gd name="connsiteX117" fmla="*/ 20976 w 4357350"/>
                <a:gd name="connsiteY117" fmla="*/ 1302440 h 3735720"/>
                <a:gd name="connsiteX118" fmla="*/ 87 w 4357350"/>
                <a:gd name="connsiteY118" fmla="*/ 1052756 h 3735720"/>
                <a:gd name="connsiteX119" fmla="*/ 84899 w 4357350"/>
                <a:gd name="connsiteY119" fmla="*/ 567820 h 3735720"/>
                <a:gd name="connsiteX120" fmla="*/ 291818 w 4357350"/>
                <a:gd name="connsiteY120" fmla="*/ 133450 h 373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357350" h="3735720">
                  <a:moveTo>
                    <a:pt x="3838712" y="0"/>
                  </a:moveTo>
                  <a:lnTo>
                    <a:pt x="4357350" y="0"/>
                  </a:lnTo>
                  <a:lnTo>
                    <a:pt x="4357350" y="406110"/>
                  </a:lnTo>
                  <a:lnTo>
                    <a:pt x="4191121" y="279485"/>
                  </a:lnTo>
                  <a:cubicBezTo>
                    <a:pt x="4131894" y="235319"/>
                    <a:pt x="4071647" y="190425"/>
                    <a:pt x="4011624" y="143044"/>
                  </a:cubicBezTo>
                  <a:close/>
                  <a:moveTo>
                    <a:pt x="383925" y="0"/>
                  </a:moveTo>
                  <a:lnTo>
                    <a:pt x="720102" y="0"/>
                  </a:lnTo>
                  <a:lnTo>
                    <a:pt x="646935" y="95348"/>
                  </a:lnTo>
                  <a:cubicBezTo>
                    <a:pt x="606591" y="154071"/>
                    <a:pt x="567233" y="213242"/>
                    <a:pt x="531641" y="274206"/>
                  </a:cubicBezTo>
                  <a:cubicBezTo>
                    <a:pt x="460277" y="395955"/>
                    <a:pt x="401195" y="523352"/>
                    <a:pt x="361658" y="654605"/>
                  </a:cubicBezTo>
                  <a:cubicBezTo>
                    <a:pt x="321942" y="785589"/>
                    <a:pt x="300515" y="919800"/>
                    <a:pt x="302667" y="1052217"/>
                  </a:cubicBezTo>
                  <a:cubicBezTo>
                    <a:pt x="304639" y="1184635"/>
                    <a:pt x="328935" y="1315081"/>
                    <a:pt x="375286" y="1439430"/>
                  </a:cubicBezTo>
                  <a:cubicBezTo>
                    <a:pt x="428182" y="1583413"/>
                    <a:pt x="475697" y="1729818"/>
                    <a:pt x="515414" y="1878283"/>
                  </a:cubicBezTo>
                  <a:cubicBezTo>
                    <a:pt x="555757" y="2026211"/>
                    <a:pt x="585971" y="2177187"/>
                    <a:pt x="621743" y="2315074"/>
                  </a:cubicBezTo>
                  <a:cubicBezTo>
                    <a:pt x="626136" y="2332736"/>
                    <a:pt x="631246" y="2348873"/>
                    <a:pt x="636177" y="2365548"/>
                  </a:cubicBezTo>
                  <a:cubicBezTo>
                    <a:pt x="641377" y="2381866"/>
                    <a:pt x="645591" y="2399258"/>
                    <a:pt x="651597" y="2414589"/>
                  </a:cubicBezTo>
                  <a:lnTo>
                    <a:pt x="668453" y="2461926"/>
                  </a:lnTo>
                  <a:lnTo>
                    <a:pt x="688085" y="2506842"/>
                  </a:lnTo>
                  <a:cubicBezTo>
                    <a:pt x="716057" y="2565744"/>
                    <a:pt x="748602" y="2621419"/>
                    <a:pt x="791187" y="2674225"/>
                  </a:cubicBezTo>
                  <a:cubicBezTo>
                    <a:pt x="831711" y="2727658"/>
                    <a:pt x="880393" y="2778313"/>
                    <a:pt x="931225" y="2827711"/>
                  </a:cubicBezTo>
                  <a:cubicBezTo>
                    <a:pt x="943509" y="2840352"/>
                    <a:pt x="957136" y="2852008"/>
                    <a:pt x="970315" y="2863931"/>
                  </a:cubicBezTo>
                  <a:lnTo>
                    <a:pt x="1010300" y="2899345"/>
                  </a:lnTo>
                  <a:cubicBezTo>
                    <a:pt x="1023390" y="2911359"/>
                    <a:pt x="1037376" y="2922296"/>
                    <a:pt x="1051271" y="2933324"/>
                  </a:cubicBezTo>
                  <a:lnTo>
                    <a:pt x="1092961" y="2966316"/>
                  </a:lnTo>
                  <a:cubicBezTo>
                    <a:pt x="1106588" y="2977701"/>
                    <a:pt x="1121291" y="2987474"/>
                    <a:pt x="1135725" y="2997605"/>
                  </a:cubicBezTo>
                  <a:lnTo>
                    <a:pt x="1179028" y="3027908"/>
                  </a:lnTo>
                  <a:lnTo>
                    <a:pt x="1189787" y="3035528"/>
                  </a:lnTo>
                  <a:lnTo>
                    <a:pt x="1200903" y="3042521"/>
                  </a:lnTo>
                  <a:lnTo>
                    <a:pt x="1223227" y="3056507"/>
                  </a:lnTo>
                  <a:lnTo>
                    <a:pt x="1267785" y="3084300"/>
                  </a:lnTo>
                  <a:cubicBezTo>
                    <a:pt x="1297997" y="3101961"/>
                    <a:pt x="1328929" y="3118099"/>
                    <a:pt x="1359231" y="3135043"/>
                  </a:cubicBezTo>
                  <a:cubicBezTo>
                    <a:pt x="1390519" y="3150285"/>
                    <a:pt x="1421720" y="3165525"/>
                    <a:pt x="1452918" y="3180319"/>
                  </a:cubicBezTo>
                  <a:cubicBezTo>
                    <a:pt x="1579419" y="3236710"/>
                    <a:pt x="1710403" y="3279564"/>
                    <a:pt x="1844883" y="3312288"/>
                  </a:cubicBezTo>
                  <a:cubicBezTo>
                    <a:pt x="1979453" y="3344922"/>
                    <a:pt x="2117877" y="3366798"/>
                    <a:pt x="2259350" y="3380783"/>
                  </a:cubicBezTo>
                  <a:cubicBezTo>
                    <a:pt x="2277102" y="3382307"/>
                    <a:pt x="2294763" y="3384011"/>
                    <a:pt x="2312514" y="3385804"/>
                  </a:cubicBezTo>
                  <a:lnTo>
                    <a:pt x="2339142" y="3388404"/>
                  </a:lnTo>
                  <a:lnTo>
                    <a:pt x="2365947" y="3389928"/>
                  </a:lnTo>
                  <a:lnTo>
                    <a:pt x="2419650" y="3393514"/>
                  </a:lnTo>
                  <a:cubicBezTo>
                    <a:pt x="2437581" y="3394679"/>
                    <a:pt x="2455691" y="3396293"/>
                    <a:pt x="2473173" y="3396472"/>
                  </a:cubicBezTo>
                  <a:lnTo>
                    <a:pt x="2526158" y="3398086"/>
                  </a:lnTo>
                  <a:cubicBezTo>
                    <a:pt x="2543820" y="3398534"/>
                    <a:pt x="2561661" y="3399969"/>
                    <a:pt x="2579323" y="3399700"/>
                  </a:cubicBezTo>
                  <a:lnTo>
                    <a:pt x="2685831" y="3398445"/>
                  </a:lnTo>
                  <a:lnTo>
                    <a:pt x="2792429" y="3392349"/>
                  </a:lnTo>
                  <a:cubicBezTo>
                    <a:pt x="2827841" y="3389121"/>
                    <a:pt x="2863255" y="3384728"/>
                    <a:pt x="2898847" y="3380962"/>
                  </a:cubicBezTo>
                  <a:cubicBezTo>
                    <a:pt x="2907812" y="3380156"/>
                    <a:pt x="2916599" y="3378632"/>
                    <a:pt x="2925384" y="3377196"/>
                  </a:cubicBezTo>
                  <a:lnTo>
                    <a:pt x="2951832" y="3372894"/>
                  </a:lnTo>
                  <a:lnTo>
                    <a:pt x="3004817" y="3364286"/>
                  </a:lnTo>
                  <a:cubicBezTo>
                    <a:pt x="3022659" y="3361777"/>
                    <a:pt x="3039872" y="3357204"/>
                    <a:pt x="3057444" y="3353528"/>
                  </a:cubicBezTo>
                  <a:lnTo>
                    <a:pt x="3109891" y="3341784"/>
                  </a:lnTo>
                  <a:cubicBezTo>
                    <a:pt x="3249302" y="3307985"/>
                    <a:pt x="3385217" y="3258227"/>
                    <a:pt x="3514048" y="3194125"/>
                  </a:cubicBezTo>
                  <a:cubicBezTo>
                    <a:pt x="3642969" y="3130202"/>
                    <a:pt x="3763822" y="3050769"/>
                    <a:pt x="3875978" y="2961385"/>
                  </a:cubicBezTo>
                  <a:cubicBezTo>
                    <a:pt x="3904667" y="2939779"/>
                    <a:pt x="3931385" y="2915841"/>
                    <a:pt x="3958549" y="2892531"/>
                  </a:cubicBezTo>
                  <a:lnTo>
                    <a:pt x="3978900" y="2875048"/>
                  </a:lnTo>
                  <a:lnTo>
                    <a:pt x="3989121" y="2866352"/>
                  </a:lnTo>
                  <a:lnTo>
                    <a:pt x="3998893" y="2857118"/>
                  </a:lnTo>
                  <a:lnTo>
                    <a:pt x="4038072" y="2820360"/>
                  </a:lnTo>
                  <a:lnTo>
                    <a:pt x="4057616" y="2801981"/>
                  </a:lnTo>
                  <a:lnTo>
                    <a:pt x="4067388" y="2792837"/>
                  </a:lnTo>
                  <a:lnTo>
                    <a:pt x="4076712" y="2783154"/>
                  </a:lnTo>
                  <a:lnTo>
                    <a:pt x="4113919" y="2744513"/>
                  </a:lnTo>
                  <a:cubicBezTo>
                    <a:pt x="4126201" y="2731424"/>
                    <a:pt x="4138931" y="2718873"/>
                    <a:pt x="4150587" y="2705335"/>
                  </a:cubicBezTo>
                  <a:lnTo>
                    <a:pt x="4185372" y="2664633"/>
                  </a:lnTo>
                  <a:cubicBezTo>
                    <a:pt x="4196848" y="2650915"/>
                    <a:pt x="4208771" y="2637646"/>
                    <a:pt x="4219889" y="2623660"/>
                  </a:cubicBezTo>
                  <a:lnTo>
                    <a:pt x="4252612" y="2581344"/>
                  </a:lnTo>
                  <a:lnTo>
                    <a:pt x="4285515" y="2539208"/>
                  </a:lnTo>
                  <a:cubicBezTo>
                    <a:pt x="4295915" y="2524773"/>
                    <a:pt x="4306135" y="2510160"/>
                    <a:pt x="4316714" y="2495815"/>
                  </a:cubicBezTo>
                  <a:lnTo>
                    <a:pt x="4348452" y="2452782"/>
                  </a:lnTo>
                  <a:lnTo>
                    <a:pt x="4357350" y="2439713"/>
                  </a:lnTo>
                  <a:lnTo>
                    <a:pt x="4357350" y="2838234"/>
                  </a:lnTo>
                  <a:lnTo>
                    <a:pt x="4330521" y="2867339"/>
                  </a:lnTo>
                  <a:cubicBezTo>
                    <a:pt x="4317162" y="2882042"/>
                    <a:pt x="4302639" y="2895400"/>
                    <a:pt x="4288832" y="2909565"/>
                  </a:cubicBezTo>
                  <a:lnTo>
                    <a:pt x="4247054" y="2951613"/>
                  </a:lnTo>
                  <a:lnTo>
                    <a:pt x="4236564" y="2962102"/>
                  </a:lnTo>
                  <a:lnTo>
                    <a:pt x="4225626" y="2972143"/>
                  </a:lnTo>
                  <a:lnTo>
                    <a:pt x="4203840" y="2992226"/>
                  </a:lnTo>
                  <a:cubicBezTo>
                    <a:pt x="4174703" y="3018943"/>
                    <a:pt x="4146104" y="3046197"/>
                    <a:pt x="4115084" y="3070851"/>
                  </a:cubicBezTo>
                  <a:cubicBezTo>
                    <a:pt x="4084602" y="3096045"/>
                    <a:pt x="4054568" y="3121865"/>
                    <a:pt x="4022472" y="3144995"/>
                  </a:cubicBezTo>
                  <a:cubicBezTo>
                    <a:pt x="3896509" y="3240745"/>
                    <a:pt x="3761581" y="3324391"/>
                    <a:pt x="3621543" y="3398445"/>
                  </a:cubicBezTo>
                  <a:cubicBezTo>
                    <a:pt x="3481414" y="3472409"/>
                    <a:pt x="3335100" y="3535614"/>
                    <a:pt x="3184035" y="3587434"/>
                  </a:cubicBezTo>
                  <a:lnTo>
                    <a:pt x="3127105" y="3606082"/>
                  </a:lnTo>
                  <a:cubicBezTo>
                    <a:pt x="3108009" y="3612178"/>
                    <a:pt x="3089181" y="3619171"/>
                    <a:pt x="3069816" y="3624102"/>
                  </a:cubicBezTo>
                  <a:cubicBezTo>
                    <a:pt x="3031265" y="3634682"/>
                    <a:pt x="2992803" y="3646605"/>
                    <a:pt x="2953894" y="3656377"/>
                  </a:cubicBezTo>
                  <a:cubicBezTo>
                    <a:pt x="2914805" y="3665343"/>
                    <a:pt x="2875627" y="3674756"/>
                    <a:pt x="2836269" y="3683542"/>
                  </a:cubicBezTo>
                  <a:lnTo>
                    <a:pt x="2717210" y="3705507"/>
                  </a:lnTo>
                  <a:lnTo>
                    <a:pt x="2596895" y="3721376"/>
                  </a:lnTo>
                  <a:cubicBezTo>
                    <a:pt x="2556640" y="3725768"/>
                    <a:pt x="2516297" y="3728189"/>
                    <a:pt x="2475773" y="3731238"/>
                  </a:cubicBezTo>
                  <a:cubicBezTo>
                    <a:pt x="2455422" y="3733120"/>
                    <a:pt x="2435609" y="3733300"/>
                    <a:pt x="2415616" y="3733838"/>
                  </a:cubicBezTo>
                  <a:lnTo>
                    <a:pt x="2355638" y="3735272"/>
                  </a:lnTo>
                  <a:lnTo>
                    <a:pt x="2325604" y="3735720"/>
                  </a:lnTo>
                  <a:lnTo>
                    <a:pt x="2295481" y="3735092"/>
                  </a:lnTo>
                  <a:lnTo>
                    <a:pt x="2235144" y="3733479"/>
                  </a:lnTo>
                  <a:cubicBezTo>
                    <a:pt x="2074216" y="3727383"/>
                    <a:pt x="1911406" y="3705149"/>
                    <a:pt x="1752451" y="3662653"/>
                  </a:cubicBezTo>
                  <a:cubicBezTo>
                    <a:pt x="1593495" y="3620336"/>
                    <a:pt x="1439112" y="3556503"/>
                    <a:pt x="1296832" y="3474382"/>
                  </a:cubicBezTo>
                  <a:cubicBezTo>
                    <a:pt x="1261688" y="3453222"/>
                    <a:pt x="1226724" y="3431707"/>
                    <a:pt x="1192207" y="3409921"/>
                  </a:cubicBezTo>
                  <a:cubicBezTo>
                    <a:pt x="1158766" y="3386431"/>
                    <a:pt x="1124787" y="3363749"/>
                    <a:pt x="1092153" y="3339632"/>
                  </a:cubicBezTo>
                  <a:lnTo>
                    <a:pt x="1044010" y="3302426"/>
                  </a:lnTo>
                  <a:lnTo>
                    <a:pt x="1019983" y="3283868"/>
                  </a:lnTo>
                  <a:lnTo>
                    <a:pt x="1007969" y="3274544"/>
                  </a:lnTo>
                  <a:lnTo>
                    <a:pt x="996403" y="3264772"/>
                  </a:lnTo>
                  <a:lnTo>
                    <a:pt x="950412" y="3225593"/>
                  </a:lnTo>
                  <a:cubicBezTo>
                    <a:pt x="935261" y="3212504"/>
                    <a:pt x="919571" y="3199773"/>
                    <a:pt x="905137" y="3185966"/>
                  </a:cubicBezTo>
                  <a:lnTo>
                    <a:pt x="861117" y="3145174"/>
                  </a:lnTo>
                  <a:cubicBezTo>
                    <a:pt x="846414" y="3131547"/>
                    <a:pt x="831441" y="3118368"/>
                    <a:pt x="817635" y="3104023"/>
                  </a:cubicBezTo>
                  <a:lnTo>
                    <a:pt x="775409" y="3061886"/>
                  </a:lnTo>
                  <a:cubicBezTo>
                    <a:pt x="761333" y="3047900"/>
                    <a:pt x="746989" y="3034273"/>
                    <a:pt x="733631" y="3019301"/>
                  </a:cubicBezTo>
                  <a:cubicBezTo>
                    <a:pt x="679031" y="2961206"/>
                    <a:pt x="624343" y="2901944"/>
                    <a:pt x="574675" y="2835063"/>
                  </a:cubicBezTo>
                  <a:cubicBezTo>
                    <a:pt x="523573" y="2770064"/>
                    <a:pt x="479194" y="2695742"/>
                    <a:pt x="442077" y="2619806"/>
                  </a:cubicBezTo>
                  <a:cubicBezTo>
                    <a:pt x="433202" y="2600620"/>
                    <a:pt x="424147" y="2581434"/>
                    <a:pt x="415720" y="2562159"/>
                  </a:cubicBezTo>
                  <a:lnTo>
                    <a:pt x="393216" y="2504242"/>
                  </a:lnTo>
                  <a:cubicBezTo>
                    <a:pt x="385148" y="2484788"/>
                    <a:pt x="379769" y="2465871"/>
                    <a:pt x="373134" y="2446684"/>
                  </a:cubicBezTo>
                  <a:cubicBezTo>
                    <a:pt x="366859" y="2427679"/>
                    <a:pt x="360135" y="2408314"/>
                    <a:pt x="354935" y="2389755"/>
                  </a:cubicBezTo>
                  <a:lnTo>
                    <a:pt x="338080" y="2333542"/>
                  </a:lnTo>
                  <a:lnTo>
                    <a:pt x="322480" y="2278496"/>
                  </a:lnTo>
                  <a:lnTo>
                    <a:pt x="291998" y="2170015"/>
                  </a:lnTo>
                  <a:lnTo>
                    <a:pt x="261337" y="2063596"/>
                  </a:lnTo>
                  <a:lnTo>
                    <a:pt x="229599" y="1958522"/>
                  </a:lnTo>
                  <a:cubicBezTo>
                    <a:pt x="186386" y="1819111"/>
                    <a:pt x="137436" y="1681763"/>
                    <a:pt x="87051" y="1544414"/>
                  </a:cubicBezTo>
                  <a:cubicBezTo>
                    <a:pt x="58182" y="1466057"/>
                    <a:pt x="35679" y="1384921"/>
                    <a:pt x="20976" y="1302440"/>
                  </a:cubicBezTo>
                  <a:cubicBezTo>
                    <a:pt x="6542" y="1219959"/>
                    <a:pt x="-900" y="1136133"/>
                    <a:pt x="87" y="1052756"/>
                  </a:cubicBezTo>
                  <a:cubicBezTo>
                    <a:pt x="1521" y="885821"/>
                    <a:pt x="32721" y="721665"/>
                    <a:pt x="84899" y="567820"/>
                  </a:cubicBezTo>
                  <a:cubicBezTo>
                    <a:pt x="137256" y="413797"/>
                    <a:pt x="208261" y="268827"/>
                    <a:pt x="291818" y="13345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9" name="Freeform: Shape 78">
              <a:extLst>
                <a:ext uri="{FF2B5EF4-FFF2-40B4-BE49-F238E27FC236}">
                  <a16:creationId xmlns:a16="http://schemas.microsoft.com/office/drawing/2014/main" id="{867EF130-7C3F-4666-8212-746B1D9BCEE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980770" y="10262"/>
              <a:ext cx="4213737" cy="3745016"/>
            </a:xfrm>
            <a:custGeom>
              <a:avLst/>
              <a:gdLst>
                <a:gd name="connsiteX0" fmla="*/ 3582008 w 4343355"/>
                <a:gd name="connsiteY0" fmla="*/ 0 h 3687666"/>
                <a:gd name="connsiteX1" fmla="*/ 4343355 w 4343355"/>
                <a:gd name="connsiteY1" fmla="*/ 0 h 3687666"/>
                <a:gd name="connsiteX2" fmla="*/ 4343355 w 4343355"/>
                <a:gd name="connsiteY2" fmla="*/ 776570 h 3687666"/>
                <a:gd name="connsiteX3" fmla="*/ 4323609 w 4343355"/>
                <a:gd name="connsiteY3" fmla="*/ 743183 h 3687666"/>
                <a:gd name="connsiteX4" fmla="*/ 3909680 w 4343355"/>
                <a:gd name="connsiteY4" fmla="*/ 311502 h 3687666"/>
                <a:gd name="connsiteX5" fmla="*/ 3628885 w 4343355"/>
                <a:gd name="connsiteY5" fmla="*/ 46128 h 3687666"/>
                <a:gd name="connsiteX6" fmla="*/ 336035 w 4343355"/>
                <a:gd name="connsiteY6" fmla="*/ 0 h 3687666"/>
                <a:gd name="connsiteX7" fmla="*/ 1014751 w 4343355"/>
                <a:gd name="connsiteY7" fmla="*/ 0 h 3687666"/>
                <a:gd name="connsiteX8" fmla="*/ 976850 w 4343355"/>
                <a:gd name="connsiteY8" fmla="*/ 40570 h 3687666"/>
                <a:gd name="connsiteX9" fmla="*/ 596990 w 4343355"/>
                <a:gd name="connsiteY9" fmla="*/ 666978 h 3687666"/>
                <a:gd name="connsiteX10" fmla="*/ 589279 w 4343355"/>
                <a:gd name="connsiteY10" fmla="*/ 1285047 h 3687666"/>
                <a:gd name="connsiteX11" fmla="*/ 830447 w 4343355"/>
                <a:gd name="connsiteY11" fmla="*/ 2080182 h 3687666"/>
                <a:gd name="connsiteX12" fmla="*/ 926465 w 4343355"/>
                <a:gd name="connsiteY12" fmla="*/ 2395583 h 3687666"/>
                <a:gd name="connsiteX13" fmla="*/ 1113662 w 4343355"/>
                <a:gd name="connsiteY13" fmla="*/ 2637019 h 3687666"/>
                <a:gd name="connsiteX14" fmla="*/ 2430758 w 4343355"/>
                <a:gd name="connsiteY14" fmla="*/ 3149836 h 3687666"/>
                <a:gd name="connsiteX15" fmla="*/ 3844950 w 4343355"/>
                <a:gd name="connsiteY15" fmla="*/ 2569689 h 3687666"/>
                <a:gd name="connsiteX16" fmla="*/ 4283713 w 4343355"/>
                <a:gd name="connsiteY16" fmla="*/ 1926158 h 3687666"/>
                <a:gd name="connsiteX17" fmla="*/ 4343355 w 4343355"/>
                <a:gd name="connsiteY17" fmla="*/ 1764383 h 3687666"/>
                <a:gd name="connsiteX18" fmla="*/ 4343355 w 4343355"/>
                <a:gd name="connsiteY18" fmla="*/ 2821581 h 3687666"/>
                <a:gd name="connsiteX19" fmla="*/ 4222839 w 4343355"/>
                <a:gd name="connsiteY19" fmla="*/ 2952509 h 3687666"/>
                <a:gd name="connsiteX20" fmla="*/ 2430848 w 4343355"/>
                <a:gd name="connsiteY20" fmla="*/ 3687666 h 3687666"/>
                <a:gd name="connsiteX21" fmla="*/ 733352 w 4343355"/>
                <a:gd name="connsiteY21" fmla="*/ 3017329 h 3687666"/>
                <a:gd name="connsiteX22" fmla="*/ 84621 w 4343355"/>
                <a:gd name="connsiteY22" fmla="*/ 1471257 h 3687666"/>
                <a:gd name="connsiteX23" fmla="*/ 295318 w 4343355"/>
                <a:gd name="connsiteY23" fmla="*/ 59886 h 36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43355" h="3687666">
                  <a:moveTo>
                    <a:pt x="3582008" y="0"/>
                  </a:moveTo>
                  <a:lnTo>
                    <a:pt x="4343355" y="0"/>
                  </a:lnTo>
                  <a:lnTo>
                    <a:pt x="4343355" y="776570"/>
                  </a:lnTo>
                  <a:lnTo>
                    <a:pt x="4323609" y="743183"/>
                  </a:lnTo>
                  <a:cubicBezTo>
                    <a:pt x="4227949" y="603145"/>
                    <a:pt x="4080469" y="468037"/>
                    <a:pt x="3909680" y="311502"/>
                  </a:cubicBezTo>
                  <a:cubicBezTo>
                    <a:pt x="3818682" y="228125"/>
                    <a:pt x="3724636" y="141878"/>
                    <a:pt x="3628885" y="46128"/>
                  </a:cubicBezTo>
                  <a:close/>
                  <a:moveTo>
                    <a:pt x="336035" y="0"/>
                  </a:moveTo>
                  <a:lnTo>
                    <a:pt x="1014751" y="0"/>
                  </a:lnTo>
                  <a:lnTo>
                    <a:pt x="976850" y="40570"/>
                  </a:lnTo>
                  <a:cubicBezTo>
                    <a:pt x="798082" y="245875"/>
                    <a:pt x="666740" y="462478"/>
                    <a:pt x="596990" y="666978"/>
                  </a:cubicBezTo>
                  <a:cubicBezTo>
                    <a:pt x="520784" y="890483"/>
                    <a:pt x="518274" y="1092652"/>
                    <a:pt x="589279" y="1285047"/>
                  </a:cubicBezTo>
                  <a:cubicBezTo>
                    <a:pt x="719097" y="1636936"/>
                    <a:pt x="783468" y="1893166"/>
                    <a:pt x="830447" y="2080182"/>
                  </a:cubicBezTo>
                  <a:cubicBezTo>
                    <a:pt x="865502" y="2219952"/>
                    <a:pt x="890872" y="2320902"/>
                    <a:pt x="926465" y="2395583"/>
                  </a:cubicBezTo>
                  <a:cubicBezTo>
                    <a:pt x="950850" y="2446775"/>
                    <a:pt x="992181" y="2515538"/>
                    <a:pt x="1113662" y="2637019"/>
                  </a:cubicBezTo>
                  <a:cubicBezTo>
                    <a:pt x="1473082" y="2996439"/>
                    <a:pt x="1867018" y="3149836"/>
                    <a:pt x="2430758" y="3149836"/>
                  </a:cubicBezTo>
                  <a:cubicBezTo>
                    <a:pt x="2963568" y="3149836"/>
                    <a:pt x="3465806" y="2943813"/>
                    <a:pt x="3844950" y="2569689"/>
                  </a:cubicBezTo>
                  <a:cubicBezTo>
                    <a:pt x="4032952" y="2384197"/>
                    <a:pt x="4180612" y="2167684"/>
                    <a:pt x="4283713" y="1926158"/>
                  </a:cubicBezTo>
                  <a:lnTo>
                    <a:pt x="4343355" y="1764383"/>
                  </a:lnTo>
                  <a:lnTo>
                    <a:pt x="4343355" y="2821581"/>
                  </a:lnTo>
                  <a:lnTo>
                    <a:pt x="4222839" y="2952509"/>
                  </a:lnTo>
                  <a:cubicBezTo>
                    <a:pt x="3762110" y="3407141"/>
                    <a:pt x="3129247" y="3687666"/>
                    <a:pt x="2430848" y="3687666"/>
                  </a:cubicBezTo>
                  <a:cubicBezTo>
                    <a:pt x="1726262" y="3687666"/>
                    <a:pt x="1195156" y="3479043"/>
                    <a:pt x="733352" y="3017329"/>
                  </a:cubicBezTo>
                  <a:cubicBezTo>
                    <a:pt x="271637" y="2555614"/>
                    <a:pt x="419835" y="2379445"/>
                    <a:pt x="84621" y="1471257"/>
                  </a:cubicBezTo>
                  <a:cubicBezTo>
                    <a:pt x="-102844" y="963393"/>
                    <a:pt x="45000" y="465969"/>
                    <a:pt x="295318" y="5988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0" name="Freeform: Shape 79">
              <a:extLst>
                <a:ext uri="{FF2B5EF4-FFF2-40B4-BE49-F238E27FC236}">
                  <a16:creationId xmlns:a16="http://schemas.microsoft.com/office/drawing/2014/main" id="{AADAF20F-535A-4551-B3D7-96564BF7C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980806" y="10262"/>
              <a:ext cx="4213701" cy="3745016"/>
            </a:xfrm>
            <a:custGeom>
              <a:avLst/>
              <a:gdLst>
                <a:gd name="connsiteX0" fmla="*/ 3710477 w 4343318"/>
                <a:gd name="connsiteY0" fmla="*/ 0 h 3687666"/>
                <a:gd name="connsiteX1" fmla="*/ 4343318 w 4343318"/>
                <a:gd name="connsiteY1" fmla="*/ 0 h 3687666"/>
                <a:gd name="connsiteX2" fmla="*/ 4343318 w 4343318"/>
                <a:gd name="connsiteY2" fmla="*/ 621939 h 3687666"/>
                <a:gd name="connsiteX3" fmla="*/ 4312719 w 4343318"/>
                <a:gd name="connsiteY3" fmla="*/ 582333 h 3687666"/>
                <a:gd name="connsiteX4" fmla="*/ 3970338 w 4343318"/>
                <a:gd name="connsiteY4" fmla="*/ 245158 h 3687666"/>
                <a:gd name="connsiteX5" fmla="*/ 3832877 w 4343318"/>
                <a:gd name="connsiteY5" fmla="*/ 118154 h 3687666"/>
                <a:gd name="connsiteX6" fmla="*/ 336008 w 4343318"/>
                <a:gd name="connsiteY6" fmla="*/ 0 h 3687666"/>
                <a:gd name="connsiteX7" fmla="*/ 894351 w 4343318"/>
                <a:gd name="connsiteY7" fmla="*/ 0 h 3687666"/>
                <a:gd name="connsiteX8" fmla="*/ 778775 w 4343318"/>
                <a:gd name="connsiteY8" fmla="*/ 144119 h 3687666"/>
                <a:gd name="connsiteX9" fmla="*/ 512051 w 4343318"/>
                <a:gd name="connsiteY9" fmla="*/ 637930 h 3687666"/>
                <a:gd name="connsiteX10" fmla="*/ 505148 w 4343318"/>
                <a:gd name="connsiteY10" fmla="*/ 1315977 h 3687666"/>
                <a:gd name="connsiteX11" fmla="*/ 743446 w 4343318"/>
                <a:gd name="connsiteY11" fmla="*/ 2101879 h 3687666"/>
                <a:gd name="connsiteX12" fmla="*/ 845561 w 4343318"/>
                <a:gd name="connsiteY12" fmla="*/ 2434044 h 3687666"/>
                <a:gd name="connsiteX13" fmla="*/ 1050329 w 4343318"/>
                <a:gd name="connsiteY13" fmla="*/ 2700224 h 3687666"/>
                <a:gd name="connsiteX14" fmla="*/ 1655489 w 4343318"/>
                <a:gd name="connsiteY14" fmla="*/ 3108506 h 3687666"/>
                <a:gd name="connsiteX15" fmla="*/ 2430811 w 4343318"/>
                <a:gd name="connsiteY15" fmla="*/ 3239220 h 3687666"/>
                <a:gd name="connsiteX16" fmla="*/ 3908029 w 4343318"/>
                <a:gd name="connsiteY16" fmla="*/ 2633254 h 3687666"/>
                <a:gd name="connsiteX17" fmla="*/ 4276836 w 4343318"/>
                <a:gd name="connsiteY17" fmla="*/ 2145331 h 3687666"/>
                <a:gd name="connsiteX18" fmla="*/ 4343318 w 4343318"/>
                <a:gd name="connsiteY18" fmla="*/ 2008362 h 3687666"/>
                <a:gd name="connsiteX19" fmla="*/ 4343318 w 4343318"/>
                <a:gd name="connsiteY19" fmla="*/ 2821581 h 3687666"/>
                <a:gd name="connsiteX20" fmla="*/ 4222802 w 4343318"/>
                <a:gd name="connsiteY20" fmla="*/ 2952509 h 3687666"/>
                <a:gd name="connsiteX21" fmla="*/ 2430811 w 4343318"/>
                <a:gd name="connsiteY21" fmla="*/ 3687666 h 3687666"/>
                <a:gd name="connsiteX22" fmla="*/ 733315 w 4343318"/>
                <a:gd name="connsiteY22" fmla="*/ 3017329 h 3687666"/>
                <a:gd name="connsiteX23" fmla="*/ 84584 w 4343318"/>
                <a:gd name="connsiteY23" fmla="*/ 1471257 h 3687666"/>
                <a:gd name="connsiteX24" fmla="*/ 295293 w 4343318"/>
                <a:gd name="connsiteY24" fmla="*/ 59886 h 36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43318" h="3687666">
                  <a:moveTo>
                    <a:pt x="3710477" y="0"/>
                  </a:moveTo>
                  <a:lnTo>
                    <a:pt x="4343318" y="0"/>
                  </a:lnTo>
                  <a:lnTo>
                    <a:pt x="4343318" y="621939"/>
                  </a:lnTo>
                  <a:lnTo>
                    <a:pt x="4312719" y="582333"/>
                  </a:lnTo>
                  <a:cubicBezTo>
                    <a:pt x="4219243" y="473220"/>
                    <a:pt x="4101523" y="365316"/>
                    <a:pt x="3970338" y="245158"/>
                  </a:cubicBezTo>
                  <a:cubicBezTo>
                    <a:pt x="3925197" y="203784"/>
                    <a:pt x="3879295" y="161691"/>
                    <a:pt x="3832877" y="118154"/>
                  </a:cubicBezTo>
                  <a:close/>
                  <a:moveTo>
                    <a:pt x="336008" y="0"/>
                  </a:moveTo>
                  <a:lnTo>
                    <a:pt x="894351" y="0"/>
                  </a:lnTo>
                  <a:lnTo>
                    <a:pt x="778775" y="144119"/>
                  </a:lnTo>
                  <a:cubicBezTo>
                    <a:pt x="658096" y="308319"/>
                    <a:pt x="567121" y="476352"/>
                    <a:pt x="512051" y="637930"/>
                  </a:cubicBezTo>
                  <a:cubicBezTo>
                    <a:pt x="428942" y="881697"/>
                    <a:pt x="426701" y="1103410"/>
                    <a:pt x="505148" y="1315977"/>
                  </a:cubicBezTo>
                  <a:cubicBezTo>
                    <a:pt x="633351" y="1663295"/>
                    <a:pt x="697006" y="1916834"/>
                    <a:pt x="743446" y="2101879"/>
                  </a:cubicBezTo>
                  <a:cubicBezTo>
                    <a:pt x="779845" y="2246669"/>
                    <a:pt x="806114" y="2351294"/>
                    <a:pt x="845561" y="2434044"/>
                  </a:cubicBezTo>
                  <a:cubicBezTo>
                    <a:pt x="873264" y="2492139"/>
                    <a:pt x="919257" y="2569241"/>
                    <a:pt x="1050329" y="2700224"/>
                  </a:cubicBezTo>
                  <a:cubicBezTo>
                    <a:pt x="1238781" y="2888676"/>
                    <a:pt x="1436735" y="3022259"/>
                    <a:pt x="1655489" y="3108506"/>
                  </a:cubicBezTo>
                  <a:cubicBezTo>
                    <a:pt x="1878547" y="3196456"/>
                    <a:pt x="2132176" y="3239220"/>
                    <a:pt x="2430811" y="3239220"/>
                  </a:cubicBezTo>
                  <a:cubicBezTo>
                    <a:pt x="2987289" y="3239220"/>
                    <a:pt x="3511940" y="3023963"/>
                    <a:pt x="3908029" y="2633254"/>
                  </a:cubicBezTo>
                  <a:cubicBezTo>
                    <a:pt x="4055284" y="2487948"/>
                    <a:pt x="4178838" y="2324437"/>
                    <a:pt x="4276836" y="2145331"/>
                  </a:cubicBezTo>
                  <a:lnTo>
                    <a:pt x="4343318" y="2008362"/>
                  </a:lnTo>
                  <a:lnTo>
                    <a:pt x="4343318" y="2821581"/>
                  </a:lnTo>
                  <a:lnTo>
                    <a:pt x="4222802" y="2952509"/>
                  </a:lnTo>
                  <a:cubicBezTo>
                    <a:pt x="3762073" y="3407141"/>
                    <a:pt x="3129210" y="3687666"/>
                    <a:pt x="2430811" y="3687666"/>
                  </a:cubicBezTo>
                  <a:cubicBezTo>
                    <a:pt x="1726226" y="3687666"/>
                    <a:pt x="1195119" y="3479043"/>
                    <a:pt x="733315" y="3017329"/>
                  </a:cubicBezTo>
                  <a:cubicBezTo>
                    <a:pt x="271600" y="2555614"/>
                    <a:pt x="419798" y="2379445"/>
                    <a:pt x="84584" y="1471257"/>
                  </a:cubicBezTo>
                  <a:cubicBezTo>
                    <a:pt x="-102814" y="963393"/>
                    <a:pt x="44996" y="465969"/>
                    <a:pt x="295293" y="5988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useBgFill="1">
          <p:nvSpPr>
            <p:cNvPr id="81" name="Freeform: Shape 80">
              <a:extLst>
                <a:ext uri="{FF2B5EF4-FFF2-40B4-BE49-F238E27FC236}">
                  <a16:creationId xmlns:a16="http://schemas.microsoft.com/office/drawing/2014/main" id="{4BCC5447-E693-49BD-8C66-4A90A780FE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895898" y="10262"/>
              <a:ext cx="4298610" cy="3888416"/>
            </a:xfrm>
            <a:custGeom>
              <a:avLst/>
              <a:gdLst>
                <a:gd name="connsiteX0" fmla="*/ 4265391 w 4447007"/>
                <a:gd name="connsiteY0" fmla="*/ 0 h 3828870"/>
                <a:gd name="connsiteX1" fmla="*/ 4447007 w 4447007"/>
                <a:gd name="connsiteY1" fmla="*/ 0 h 3828870"/>
                <a:gd name="connsiteX2" fmla="*/ 4447007 w 4447007"/>
                <a:gd name="connsiteY2" fmla="*/ 163237 h 3828870"/>
                <a:gd name="connsiteX3" fmla="*/ 4394537 w 4447007"/>
                <a:gd name="connsiteY3" fmla="*/ 114265 h 3828870"/>
                <a:gd name="connsiteX4" fmla="*/ 311415 w 4447007"/>
                <a:gd name="connsiteY4" fmla="*/ 0 h 3828870"/>
                <a:gd name="connsiteX5" fmla="*/ 495912 w 4447007"/>
                <a:gd name="connsiteY5" fmla="*/ 0 h 3828870"/>
                <a:gd name="connsiteX6" fmla="*/ 402275 w 4447007"/>
                <a:gd name="connsiteY6" fmla="*/ 124934 h 3828870"/>
                <a:gd name="connsiteX7" fmla="*/ 185314 w 4447007"/>
                <a:gd name="connsiteY7" fmla="*/ 540298 h 3828870"/>
                <a:gd name="connsiteX8" fmla="*/ 166038 w 4447007"/>
                <a:gd name="connsiteY8" fmla="*/ 595883 h 3828870"/>
                <a:gd name="connsiteX9" fmla="*/ 148646 w 4447007"/>
                <a:gd name="connsiteY9" fmla="*/ 652185 h 3828870"/>
                <a:gd name="connsiteX10" fmla="*/ 133674 w 4447007"/>
                <a:gd name="connsiteY10" fmla="*/ 709205 h 3828870"/>
                <a:gd name="connsiteX11" fmla="*/ 120942 w 4447007"/>
                <a:gd name="connsiteY11" fmla="*/ 766761 h 3828870"/>
                <a:gd name="connsiteX12" fmla="*/ 94585 w 4447007"/>
                <a:gd name="connsiteY12" fmla="*/ 1001294 h 3828870"/>
                <a:gd name="connsiteX13" fmla="*/ 171776 w 4447007"/>
                <a:gd name="connsiteY13" fmla="*/ 1466685 h 3828870"/>
                <a:gd name="connsiteX14" fmla="*/ 325621 w 4447007"/>
                <a:gd name="connsiteY14" fmla="*/ 1922482 h 3828870"/>
                <a:gd name="connsiteX15" fmla="*/ 360407 w 4447007"/>
                <a:gd name="connsiteY15" fmla="*/ 2037777 h 3828870"/>
                <a:gd name="connsiteX16" fmla="*/ 394207 w 4447007"/>
                <a:gd name="connsiteY16" fmla="*/ 2153250 h 3828870"/>
                <a:gd name="connsiteX17" fmla="*/ 463239 w 4447007"/>
                <a:gd name="connsiteY17" fmla="*/ 2382314 h 3828870"/>
                <a:gd name="connsiteX18" fmla="*/ 482694 w 4447007"/>
                <a:gd name="connsiteY18" fmla="*/ 2438168 h 3828870"/>
                <a:gd name="connsiteX19" fmla="*/ 503762 w 4447007"/>
                <a:gd name="connsiteY19" fmla="*/ 2492947 h 3828870"/>
                <a:gd name="connsiteX20" fmla="*/ 526624 w 4447007"/>
                <a:gd name="connsiteY20" fmla="*/ 2546469 h 3828870"/>
                <a:gd name="connsiteX21" fmla="*/ 552714 w 4447007"/>
                <a:gd name="connsiteY21" fmla="*/ 2598020 h 3828870"/>
                <a:gd name="connsiteX22" fmla="*/ 682800 w 4447007"/>
                <a:gd name="connsiteY22" fmla="*/ 2786472 h 3828870"/>
                <a:gd name="connsiteX23" fmla="*/ 845072 w 4447007"/>
                <a:gd name="connsiteY23" fmla="*/ 2951793 h 3828870"/>
                <a:gd name="connsiteX24" fmla="*/ 888913 w 4447007"/>
                <a:gd name="connsiteY24" fmla="*/ 2990343 h 3828870"/>
                <a:gd name="connsiteX25" fmla="*/ 933381 w 4447007"/>
                <a:gd name="connsiteY25" fmla="*/ 3028177 h 3828870"/>
                <a:gd name="connsiteX26" fmla="*/ 978836 w 4447007"/>
                <a:gd name="connsiteY26" fmla="*/ 3064576 h 3828870"/>
                <a:gd name="connsiteX27" fmla="*/ 1024648 w 4447007"/>
                <a:gd name="connsiteY27" fmla="*/ 3100259 h 3828870"/>
                <a:gd name="connsiteX28" fmla="*/ 1415716 w 4447007"/>
                <a:gd name="connsiteY28" fmla="*/ 3339363 h 3828870"/>
                <a:gd name="connsiteX29" fmla="*/ 1843093 w 4447007"/>
                <a:gd name="connsiteY29" fmla="*/ 3490339 h 3828870"/>
                <a:gd name="connsiteX30" fmla="*/ 2294498 w 4447007"/>
                <a:gd name="connsiteY30" fmla="*/ 3560001 h 3828870"/>
                <a:gd name="connsiteX31" fmla="*/ 2525265 w 4447007"/>
                <a:gd name="connsiteY31" fmla="*/ 3569952 h 3828870"/>
                <a:gd name="connsiteX32" fmla="*/ 2639842 w 4447007"/>
                <a:gd name="connsiteY32" fmla="*/ 3568786 h 3828870"/>
                <a:gd name="connsiteX33" fmla="*/ 2754419 w 4447007"/>
                <a:gd name="connsiteY33" fmla="*/ 3563138 h 3828870"/>
                <a:gd name="connsiteX34" fmla="*/ 2868727 w 4447007"/>
                <a:gd name="connsiteY34" fmla="*/ 3552290 h 3828870"/>
                <a:gd name="connsiteX35" fmla="*/ 2982586 w 4447007"/>
                <a:gd name="connsiteY35" fmla="*/ 3536331 h 3828870"/>
                <a:gd name="connsiteX36" fmla="*/ 3011007 w 4447007"/>
                <a:gd name="connsiteY36" fmla="*/ 3531581 h 3828870"/>
                <a:gd name="connsiteX37" fmla="*/ 3039338 w 4447007"/>
                <a:gd name="connsiteY37" fmla="*/ 3526290 h 3828870"/>
                <a:gd name="connsiteX38" fmla="*/ 3095998 w 4447007"/>
                <a:gd name="connsiteY38" fmla="*/ 3515712 h 3828870"/>
                <a:gd name="connsiteX39" fmla="*/ 3152301 w 4447007"/>
                <a:gd name="connsiteY39" fmla="*/ 3503160 h 3828870"/>
                <a:gd name="connsiteX40" fmla="*/ 3208603 w 4447007"/>
                <a:gd name="connsiteY40" fmla="*/ 3490071 h 3828870"/>
                <a:gd name="connsiteX41" fmla="*/ 3645752 w 4447007"/>
                <a:gd name="connsiteY41" fmla="*/ 3335508 h 3828870"/>
                <a:gd name="connsiteX42" fmla="*/ 4396778 w 4447007"/>
                <a:gd name="connsiteY42" fmla="*/ 2782347 h 3828870"/>
                <a:gd name="connsiteX43" fmla="*/ 4447007 w 4447007"/>
                <a:gd name="connsiteY43" fmla="*/ 2720295 h 3828870"/>
                <a:gd name="connsiteX44" fmla="*/ 4447007 w 4447007"/>
                <a:gd name="connsiteY44" fmla="*/ 3050277 h 3828870"/>
                <a:gd name="connsiteX45" fmla="*/ 4430275 w 4447007"/>
                <a:gd name="connsiteY45" fmla="*/ 3068689 h 3828870"/>
                <a:gd name="connsiteX46" fmla="*/ 2595194 w 4447007"/>
                <a:gd name="connsiteY46" fmla="*/ 3828870 h 3828870"/>
                <a:gd name="connsiteX47" fmla="*/ 0 w 4447007"/>
                <a:gd name="connsiteY47" fmla="*/ 1233408 h 3828870"/>
                <a:gd name="connsiteX48" fmla="*/ 203943 w 4447007"/>
                <a:gd name="connsiteY48" fmla="*/ 223122 h 382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47007" h="3828870">
                  <a:moveTo>
                    <a:pt x="4265391" y="0"/>
                  </a:moveTo>
                  <a:lnTo>
                    <a:pt x="4447007" y="0"/>
                  </a:lnTo>
                  <a:lnTo>
                    <a:pt x="4447007" y="163237"/>
                  </a:lnTo>
                  <a:lnTo>
                    <a:pt x="4394537" y="114265"/>
                  </a:lnTo>
                  <a:close/>
                  <a:moveTo>
                    <a:pt x="311415" y="0"/>
                  </a:moveTo>
                  <a:lnTo>
                    <a:pt x="495912" y="0"/>
                  </a:lnTo>
                  <a:lnTo>
                    <a:pt x="402275" y="124934"/>
                  </a:lnTo>
                  <a:cubicBezTo>
                    <a:pt x="314594" y="254214"/>
                    <a:pt x="239555" y="392908"/>
                    <a:pt x="185314" y="540298"/>
                  </a:cubicBezTo>
                  <a:cubicBezTo>
                    <a:pt x="178231" y="558587"/>
                    <a:pt x="172225" y="577235"/>
                    <a:pt x="166038" y="595883"/>
                  </a:cubicBezTo>
                  <a:cubicBezTo>
                    <a:pt x="159583" y="614441"/>
                    <a:pt x="154204" y="633268"/>
                    <a:pt x="148646" y="652185"/>
                  </a:cubicBezTo>
                  <a:cubicBezTo>
                    <a:pt x="142728" y="670922"/>
                    <a:pt x="138336" y="690109"/>
                    <a:pt x="133674" y="709205"/>
                  </a:cubicBezTo>
                  <a:cubicBezTo>
                    <a:pt x="128653" y="728211"/>
                    <a:pt x="124798" y="747487"/>
                    <a:pt x="120942" y="766761"/>
                  </a:cubicBezTo>
                  <a:cubicBezTo>
                    <a:pt x="105343" y="843863"/>
                    <a:pt x="96198" y="922400"/>
                    <a:pt x="94585" y="1001294"/>
                  </a:cubicBezTo>
                  <a:cubicBezTo>
                    <a:pt x="90820" y="1159084"/>
                    <a:pt x="117446" y="1317771"/>
                    <a:pt x="171776" y="1466685"/>
                  </a:cubicBezTo>
                  <a:cubicBezTo>
                    <a:pt x="226017" y="1617572"/>
                    <a:pt x="278464" y="1769085"/>
                    <a:pt x="325621" y="1922482"/>
                  </a:cubicBezTo>
                  <a:lnTo>
                    <a:pt x="360407" y="2037777"/>
                  </a:lnTo>
                  <a:lnTo>
                    <a:pt x="394207" y="2153250"/>
                  </a:lnTo>
                  <a:cubicBezTo>
                    <a:pt x="416350" y="2230173"/>
                    <a:pt x="438316" y="2307274"/>
                    <a:pt x="463239" y="2382314"/>
                  </a:cubicBezTo>
                  <a:cubicBezTo>
                    <a:pt x="469066" y="2401320"/>
                    <a:pt x="475880" y="2419700"/>
                    <a:pt x="482694" y="2438168"/>
                  </a:cubicBezTo>
                  <a:cubicBezTo>
                    <a:pt x="489687" y="2456457"/>
                    <a:pt x="495693" y="2475285"/>
                    <a:pt x="503762" y="2492947"/>
                  </a:cubicBezTo>
                  <a:lnTo>
                    <a:pt x="526624" y="2546469"/>
                  </a:lnTo>
                  <a:cubicBezTo>
                    <a:pt x="535142" y="2563773"/>
                    <a:pt x="543927" y="2580896"/>
                    <a:pt x="552714" y="2598020"/>
                  </a:cubicBezTo>
                  <a:cubicBezTo>
                    <a:pt x="589740" y="2665350"/>
                    <a:pt x="631876" y="2728735"/>
                    <a:pt x="682800" y="2786472"/>
                  </a:cubicBezTo>
                  <a:cubicBezTo>
                    <a:pt x="731751" y="2845285"/>
                    <a:pt x="787874" y="2899166"/>
                    <a:pt x="845072" y="2951793"/>
                  </a:cubicBezTo>
                  <a:cubicBezTo>
                    <a:pt x="858968" y="2965240"/>
                    <a:pt x="874120" y="2977612"/>
                    <a:pt x="888913" y="2990343"/>
                  </a:cubicBezTo>
                  <a:lnTo>
                    <a:pt x="933381" y="3028177"/>
                  </a:lnTo>
                  <a:cubicBezTo>
                    <a:pt x="947905" y="3041087"/>
                    <a:pt x="963504" y="3052652"/>
                    <a:pt x="978836" y="3064576"/>
                  </a:cubicBezTo>
                  <a:lnTo>
                    <a:pt x="1024648" y="3100259"/>
                  </a:lnTo>
                  <a:cubicBezTo>
                    <a:pt x="1148101" y="3193318"/>
                    <a:pt x="1278546" y="3274275"/>
                    <a:pt x="1415716" y="3339363"/>
                  </a:cubicBezTo>
                  <a:cubicBezTo>
                    <a:pt x="1552886" y="3404272"/>
                    <a:pt x="1695972" y="3454389"/>
                    <a:pt x="1843093" y="3490339"/>
                  </a:cubicBezTo>
                  <a:cubicBezTo>
                    <a:pt x="1990214" y="3526380"/>
                    <a:pt x="2141370" y="3548524"/>
                    <a:pt x="2294498" y="3560001"/>
                  </a:cubicBezTo>
                  <a:cubicBezTo>
                    <a:pt x="2370882" y="3565917"/>
                    <a:pt x="2448432" y="3568697"/>
                    <a:pt x="2525265" y="3569952"/>
                  </a:cubicBezTo>
                  <a:cubicBezTo>
                    <a:pt x="2563458" y="3569503"/>
                    <a:pt x="2601650" y="3569862"/>
                    <a:pt x="2639842" y="3568786"/>
                  </a:cubicBezTo>
                  <a:lnTo>
                    <a:pt x="2754419" y="3563138"/>
                  </a:lnTo>
                  <a:cubicBezTo>
                    <a:pt x="2792432" y="3559283"/>
                    <a:pt x="2830534" y="3555607"/>
                    <a:pt x="2868727" y="3552290"/>
                  </a:cubicBezTo>
                  <a:cubicBezTo>
                    <a:pt x="2906740" y="3547359"/>
                    <a:pt x="2944573" y="3541621"/>
                    <a:pt x="2982586" y="3536331"/>
                  </a:cubicBezTo>
                  <a:cubicBezTo>
                    <a:pt x="2992179" y="3535255"/>
                    <a:pt x="3001593" y="3533373"/>
                    <a:pt x="3011007" y="3531581"/>
                  </a:cubicBezTo>
                  <a:lnTo>
                    <a:pt x="3039338" y="3526290"/>
                  </a:lnTo>
                  <a:lnTo>
                    <a:pt x="3095998" y="3515712"/>
                  </a:lnTo>
                  <a:cubicBezTo>
                    <a:pt x="3115005" y="3512663"/>
                    <a:pt x="3133473" y="3507374"/>
                    <a:pt x="3152301" y="3503160"/>
                  </a:cubicBezTo>
                  <a:lnTo>
                    <a:pt x="3208603" y="3490071"/>
                  </a:lnTo>
                  <a:cubicBezTo>
                    <a:pt x="3358054" y="3452596"/>
                    <a:pt x="3504638" y="3400776"/>
                    <a:pt x="3645752" y="3335508"/>
                  </a:cubicBezTo>
                  <a:cubicBezTo>
                    <a:pt x="3927981" y="3205242"/>
                    <a:pt x="4186989" y="3016970"/>
                    <a:pt x="4396778" y="2782347"/>
                  </a:cubicBezTo>
                  <a:lnTo>
                    <a:pt x="4447007" y="2720295"/>
                  </a:lnTo>
                  <a:lnTo>
                    <a:pt x="4447007" y="3050277"/>
                  </a:lnTo>
                  <a:lnTo>
                    <a:pt x="4430275" y="3068689"/>
                  </a:lnTo>
                  <a:cubicBezTo>
                    <a:pt x="3960637" y="3538371"/>
                    <a:pt x="3311838" y="3828870"/>
                    <a:pt x="2595194" y="3828870"/>
                  </a:cubicBezTo>
                  <a:cubicBezTo>
                    <a:pt x="1161907" y="3828870"/>
                    <a:pt x="0" y="2666874"/>
                    <a:pt x="0" y="1233408"/>
                  </a:cubicBezTo>
                  <a:cubicBezTo>
                    <a:pt x="0" y="875041"/>
                    <a:pt x="72620" y="533641"/>
                    <a:pt x="203943" y="22312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3" name="Group 82">
            <a:extLst>
              <a:ext uri="{FF2B5EF4-FFF2-40B4-BE49-F238E27FC236}">
                <a16:creationId xmlns:a16="http://schemas.microsoft.com/office/drawing/2014/main" id="{6958A1EF-1C74-4E85-B4BA-3605C962474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694415" y="3850399"/>
            <a:ext cx="3513450" cy="3016000"/>
            <a:chOff x="8694415" y="3850186"/>
            <a:chExt cx="3513450" cy="3016000"/>
          </a:xfrm>
        </p:grpSpPr>
        <p:sp>
          <p:nvSpPr>
            <p:cNvPr id="84" name="Freeform: Shape 83">
              <a:extLst>
                <a:ext uri="{FF2B5EF4-FFF2-40B4-BE49-F238E27FC236}">
                  <a16:creationId xmlns:a16="http://schemas.microsoft.com/office/drawing/2014/main" id="{55B2971E-D92D-4F44-8148-D075E79E02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751105" y="3853246"/>
              <a:ext cx="3456760" cy="3012940"/>
            </a:xfrm>
            <a:custGeom>
              <a:avLst/>
              <a:gdLst>
                <a:gd name="connsiteX0" fmla="*/ 3456760 w 3456760"/>
                <a:gd name="connsiteY0" fmla="*/ 2084159 h 3012940"/>
                <a:gd name="connsiteX1" fmla="*/ 3456760 w 3456760"/>
                <a:gd name="connsiteY1" fmla="*/ 2868171 h 3012940"/>
                <a:gd name="connsiteX2" fmla="*/ 3420868 w 3456760"/>
                <a:gd name="connsiteY2" fmla="*/ 2929680 h 3012940"/>
                <a:gd name="connsiteX3" fmla="*/ 3360500 w 3456760"/>
                <a:gd name="connsiteY3" fmla="*/ 3012940 h 3012940"/>
                <a:gd name="connsiteX4" fmla="*/ 3103825 w 3456760"/>
                <a:gd name="connsiteY4" fmla="*/ 3012940 h 3012940"/>
                <a:gd name="connsiteX5" fmla="*/ 3150117 w 3456760"/>
                <a:gd name="connsiteY5" fmla="*/ 2950711 h 3012940"/>
                <a:gd name="connsiteX6" fmla="*/ 3237625 w 3456760"/>
                <a:gd name="connsiteY6" fmla="*/ 2813843 h 3012940"/>
                <a:gd name="connsiteX7" fmla="*/ 3371043 w 3456760"/>
                <a:gd name="connsiteY7" fmla="*/ 2518944 h 3012940"/>
                <a:gd name="connsiteX8" fmla="*/ 3445282 w 3456760"/>
                <a:gd name="connsiteY8" fmla="*/ 2205203 h 3012940"/>
                <a:gd name="connsiteX9" fmla="*/ 1875913 w 3456760"/>
                <a:gd name="connsiteY9" fmla="*/ 58 h 3012940"/>
                <a:gd name="connsiteX10" fmla="*/ 2231451 w 3456760"/>
                <a:gd name="connsiteY10" fmla="*/ 33296 h 3012940"/>
                <a:gd name="connsiteX11" fmla="*/ 2578961 w 3456760"/>
                <a:gd name="connsiteY11" fmla="*/ 129296 h 3012940"/>
                <a:gd name="connsiteX12" fmla="*/ 2902455 w 3456760"/>
                <a:gd name="connsiteY12" fmla="*/ 297611 h 3012940"/>
                <a:gd name="connsiteX13" fmla="*/ 3047749 w 3456760"/>
                <a:gd name="connsiteY13" fmla="*/ 409733 h 3012940"/>
                <a:gd name="connsiteX14" fmla="*/ 3177982 w 3456760"/>
                <a:gd name="connsiteY14" fmla="*/ 539303 h 3012940"/>
                <a:gd name="connsiteX15" fmla="*/ 3402955 w 3456760"/>
                <a:gd name="connsiteY15" fmla="*/ 829707 h 3012940"/>
                <a:gd name="connsiteX16" fmla="*/ 3456760 w 3456760"/>
                <a:gd name="connsiteY16" fmla="*/ 922637 h 3012940"/>
                <a:gd name="connsiteX17" fmla="*/ 3456760 w 3456760"/>
                <a:gd name="connsiteY17" fmla="*/ 1792893 h 3012940"/>
                <a:gd name="connsiteX18" fmla="*/ 3452115 w 3456760"/>
                <a:gd name="connsiteY18" fmla="*/ 1723478 h 3012940"/>
                <a:gd name="connsiteX19" fmla="*/ 3428033 w 3456760"/>
                <a:gd name="connsiteY19" fmla="*/ 1564120 h 3012940"/>
                <a:gd name="connsiteX20" fmla="*/ 3337141 w 3456760"/>
                <a:gd name="connsiteY20" fmla="*/ 1254625 h 3012940"/>
                <a:gd name="connsiteX21" fmla="*/ 2998986 w 3456760"/>
                <a:gd name="connsiteY21" fmla="*/ 708281 h 3012940"/>
                <a:gd name="connsiteX22" fmla="*/ 2884741 w 3456760"/>
                <a:gd name="connsiteY22" fmla="*/ 595165 h 3012940"/>
                <a:gd name="connsiteX23" fmla="*/ 2764062 w 3456760"/>
                <a:gd name="connsiteY23" fmla="*/ 489080 h 3012940"/>
                <a:gd name="connsiteX24" fmla="*/ 2499017 w 3456760"/>
                <a:gd name="connsiteY24" fmla="*/ 305307 h 3012940"/>
                <a:gd name="connsiteX25" fmla="*/ 2199407 w 3456760"/>
                <a:gd name="connsiteY25" fmla="*/ 179452 h 3012940"/>
                <a:gd name="connsiteX26" fmla="*/ 1875913 w 3456760"/>
                <a:gd name="connsiteY26" fmla="*/ 136793 h 3012940"/>
                <a:gd name="connsiteX27" fmla="*/ 1714962 w 3456760"/>
                <a:gd name="connsiteY27" fmla="*/ 150592 h 3012940"/>
                <a:gd name="connsiteX28" fmla="*/ 1556732 w 3456760"/>
                <a:gd name="connsiteY28" fmla="*/ 186949 h 3012940"/>
                <a:gd name="connsiteX29" fmla="*/ 1403610 w 3456760"/>
                <a:gd name="connsiteY29" fmla="*/ 243143 h 3012940"/>
                <a:gd name="connsiteX30" fmla="*/ 1366324 w 3456760"/>
                <a:gd name="connsiteY30" fmla="*/ 259928 h 3012940"/>
                <a:gd name="connsiteX31" fmla="*/ 1329437 w 3456760"/>
                <a:gd name="connsiteY31" fmla="*/ 277708 h 3012940"/>
                <a:gd name="connsiteX32" fmla="*/ 1293147 w 3456760"/>
                <a:gd name="connsiteY32" fmla="*/ 296683 h 3012940"/>
                <a:gd name="connsiteX33" fmla="*/ 1257321 w 3456760"/>
                <a:gd name="connsiteY33" fmla="*/ 316586 h 3012940"/>
                <a:gd name="connsiteX34" fmla="*/ 989557 w 3456760"/>
                <a:gd name="connsiteY34" fmla="*/ 505931 h 3012940"/>
                <a:gd name="connsiteX35" fmla="*/ 758281 w 3456760"/>
                <a:gd name="connsiteY35" fmla="*/ 738401 h 3012940"/>
                <a:gd name="connsiteX36" fmla="*/ 656973 w 3456760"/>
                <a:gd name="connsiteY36" fmla="*/ 866843 h 3012940"/>
                <a:gd name="connsiteX37" fmla="*/ 566148 w 3456760"/>
                <a:gd name="connsiteY37" fmla="*/ 1002185 h 3012940"/>
                <a:gd name="connsiteX38" fmla="*/ 417206 w 3456760"/>
                <a:gd name="connsiteY38" fmla="*/ 1289124 h 3012940"/>
                <a:gd name="connsiteX39" fmla="*/ 316097 w 3456760"/>
                <a:gd name="connsiteY39" fmla="*/ 1591719 h 3012940"/>
                <a:gd name="connsiteX40" fmla="*/ 278945 w 3456760"/>
                <a:gd name="connsiteY40" fmla="*/ 1745770 h 3012940"/>
                <a:gd name="connsiteX41" fmla="*/ 255193 w 3456760"/>
                <a:gd name="connsiteY41" fmla="*/ 1902607 h 3012940"/>
                <a:gd name="connsiteX42" fmla="*/ 244844 w 3456760"/>
                <a:gd name="connsiteY42" fmla="*/ 2061966 h 3012940"/>
                <a:gd name="connsiteX43" fmla="*/ 250417 w 3456760"/>
                <a:gd name="connsiteY43" fmla="*/ 2223447 h 3012940"/>
                <a:gd name="connsiteX44" fmla="*/ 282129 w 3456760"/>
                <a:gd name="connsiteY44" fmla="*/ 2381810 h 3012940"/>
                <a:gd name="connsiteX45" fmla="*/ 346550 w 3456760"/>
                <a:gd name="connsiteY45" fmla="*/ 2519408 h 3012940"/>
                <a:gd name="connsiteX46" fmla="*/ 448255 w 3456760"/>
                <a:gd name="connsiteY46" fmla="*/ 2619787 h 3012940"/>
                <a:gd name="connsiteX47" fmla="*/ 515064 w 3456760"/>
                <a:gd name="connsiteY47" fmla="*/ 2658731 h 3012940"/>
                <a:gd name="connsiteX48" fmla="*/ 590231 w 3456760"/>
                <a:gd name="connsiteY48" fmla="*/ 2696347 h 3012940"/>
                <a:gd name="connsiteX49" fmla="*/ 749324 w 3456760"/>
                <a:gd name="connsiteY49" fmla="*/ 2784386 h 3012940"/>
                <a:gd name="connsiteX50" fmla="*/ 897139 w 3456760"/>
                <a:gd name="connsiteY50" fmla="*/ 2899958 h 3012940"/>
                <a:gd name="connsiteX51" fmla="*/ 930510 w 3456760"/>
                <a:gd name="connsiteY51" fmla="*/ 2932334 h 3012940"/>
                <a:gd name="connsiteX52" fmla="*/ 961625 w 3456760"/>
                <a:gd name="connsiteY52" fmla="*/ 2964245 h 3012940"/>
                <a:gd name="connsiteX53" fmla="*/ 1006445 w 3456760"/>
                <a:gd name="connsiteY53" fmla="*/ 3012940 h 3012940"/>
                <a:gd name="connsiteX54" fmla="*/ 723915 w 3456760"/>
                <a:gd name="connsiteY54" fmla="*/ 3012940 h 3012940"/>
                <a:gd name="connsiteX55" fmla="*/ 702419 w 3456760"/>
                <a:gd name="connsiteY55" fmla="*/ 2992574 h 3012940"/>
                <a:gd name="connsiteX56" fmla="*/ 641980 w 3456760"/>
                <a:gd name="connsiteY56" fmla="*/ 2943015 h 3012940"/>
                <a:gd name="connsiteX57" fmla="*/ 507102 w 3456760"/>
                <a:gd name="connsiteY57" fmla="*/ 2853649 h 3012940"/>
                <a:gd name="connsiteX58" fmla="*/ 353648 w 3456760"/>
                <a:gd name="connsiteY58" fmla="*/ 2755460 h 3012940"/>
                <a:gd name="connsiteX59" fmla="*/ 315169 w 3456760"/>
                <a:gd name="connsiteY59" fmla="*/ 2724279 h 3012940"/>
                <a:gd name="connsiteX60" fmla="*/ 278679 w 3456760"/>
                <a:gd name="connsiteY60" fmla="*/ 2689448 h 3012940"/>
                <a:gd name="connsiteX61" fmla="*/ 215321 w 3456760"/>
                <a:gd name="connsiteY61" fmla="*/ 2611095 h 3012940"/>
                <a:gd name="connsiteX62" fmla="*/ 165828 w 3456760"/>
                <a:gd name="connsiteY62" fmla="*/ 2526175 h 3012940"/>
                <a:gd name="connsiteX63" fmla="*/ 127349 w 3456760"/>
                <a:gd name="connsiteY63" fmla="*/ 2438999 h 3012940"/>
                <a:gd name="connsiteX64" fmla="*/ 66179 w 3456760"/>
                <a:gd name="connsiteY64" fmla="*/ 2263586 h 3012940"/>
                <a:gd name="connsiteX65" fmla="*/ 20269 w 3456760"/>
                <a:gd name="connsiteY65" fmla="*/ 2082134 h 3012940"/>
                <a:gd name="connsiteX66" fmla="*/ 565 w 3456760"/>
                <a:gd name="connsiteY66" fmla="*/ 1894713 h 3012940"/>
                <a:gd name="connsiteX67" fmla="*/ 35860 w 3456760"/>
                <a:gd name="connsiteY67" fmla="*/ 1519736 h 3012940"/>
                <a:gd name="connsiteX68" fmla="*/ 47271 w 3456760"/>
                <a:gd name="connsiteY68" fmla="*/ 1474091 h 3012940"/>
                <a:gd name="connsiteX69" fmla="*/ 60275 w 3456760"/>
                <a:gd name="connsiteY69" fmla="*/ 1428977 h 3012940"/>
                <a:gd name="connsiteX70" fmla="*/ 74937 w 3456760"/>
                <a:gd name="connsiteY70" fmla="*/ 1384460 h 3012940"/>
                <a:gd name="connsiteX71" fmla="*/ 90925 w 3456760"/>
                <a:gd name="connsiteY71" fmla="*/ 1340474 h 3012940"/>
                <a:gd name="connsiteX72" fmla="*/ 164965 w 3456760"/>
                <a:gd name="connsiteY72" fmla="*/ 1169638 h 3012940"/>
                <a:gd name="connsiteX73" fmla="*/ 356369 w 3456760"/>
                <a:gd name="connsiteY73" fmla="*/ 855234 h 3012940"/>
                <a:gd name="connsiteX74" fmla="*/ 595406 w 3456760"/>
                <a:gd name="connsiteY74" fmla="*/ 580834 h 3012940"/>
                <a:gd name="connsiteX75" fmla="*/ 872857 w 3456760"/>
                <a:gd name="connsiteY75" fmla="*/ 350089 h 3012940"/>
                <a:gd name="connsiteX76" fmla="*/ 1023989 w 3456760"/>
                <a:gd name="connsiteY76" fmla="*/ 252696 h 3012940"/>
                <a:gd name="connsiteX77" fmla="*/ 1182352 w 3456760"/>
                <a:gd name="connsiteY77" fmla="*/ 168173 h 3012940"/>
                <a:gd name="connsiteX78" fmla="*/ 1519048 w 3456760"/>
                <a:gd name="connsiteY78" fmla="*/ 45172 h 3012940"/>
                <a:gd name="connsiteX79" fmla="*/ 1695723 w 3456760"/>
                <a:gd name="connsiteY79" fmla="*/ 11336 h 3012940"/>
                <a:gd name="connsiteX80" fmla="*/ 1875913 w 3456760"/>
                <a:gd name="connsiteY80" fmla="*/ 58 h 301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456760" h="3012940">
                  <a:moveTo>
                    <a:pt x="3456760" y="2084159"/>
                  </a:moveTo>
                  <a:lnTo>
                    <a:pt x="3456760" y="2868171"/>
                  </a:lnTo>
                  <a:lnTo>
                    <a:pt x="3420868" y="2929680"/>
                  </a:lnTo>
                  <a:lnTo>
                    <a:pt x="3360500" y="3012940"/>
                  </a:lnTo>
                  <a:lnTo>
                    <a:pt x="3103825" y="3012940"/>
                  </a:lnTo>
                  <a:lnTo>
                    <a:pt x="3150117" y="2950711"/>
                  </a:lnTo>
                  <a:cubicBezTo>
                    <a:pt x="3181432" y="2906459"/>
                    <a:pt x="3210557" y="2860682"/>
                    <a:pt x="3237625" y="2813843"/>
                  </a:cubicBezTo>
                  <a:cubicBezTo>
                    <a:pt x="3291563" y="2719966"/>
                    <a:pt x="3336146" y="2620981"/>
                    <a:pt x="3371043" y="2518944"/>
                  </a:cubicBezTo>
                  <a:cubicBezTo>
                    <a:pt x="3406007" y="2416906"/>
                    <a:pt x="3430554" y="2311619"/>
                    <a:pt x="3445282" y="2205203"/>
                  </a:cubicBezTo>
                  <a:close/>
                  <a:moveTo>
                    <a:pt x="1875913" y="58"/>
                  </a:moveTo>
                  <a:cubicBezTo>
                    <a:pt x="1994868" y="986"/>
                    <a:pt x="2113757" y="12000"/>
                    <a:pt x="2231451" y="33296"/>
                  </a:cubicBezTo>
                  <a:cubicBezTo>
                    <a:pt x="2349013" y="54659"/>
                    <a:pt x="2465911" y="85509"/>
                    <a:pt x="2578961" y="129296"/>
                  </a:cubicBezTo>
                  <a:cubicBezTo>
                    <a:pt x="2692011" y="172951"/>
                    <a:pt x="2801147" y="229078"/>
                    <a:pt x="2902455" y="297611"/>
                  </a:cubicBezTo>
                  <a:cubicBezTo>
                    <a:pt x="2953009" y="331911"/>
                    <a:pt x="3002303" y="368600"/>
                    <a:pt x="3047749" y="409733"/>
                  </a:cubicBezTo>
                  <a:cubicBezTo>
                    <a:pt x="3093194" y="450866"/>
                    <a:pt x="3136052" y="494653"/>
                    <a:pt x="3177982" y="539303"/>
                  </a:cubicBezTo>
                  <a:cubicBezTo>
                    <a:pt x="3261476" y="628967"/>
                    <a:pt x="3336776" y="726310"/>
                    <a:pt x="3402955" y="829707"/>
                  </a:cubicBezTo>
                  <a:lnTo>
                    <a:pt x="3456760" y="922637"/>
                  </a:lnTo>
                  <a:lnTo>
                    <a:pt x="3456760" y="1792893"/>
                  </a:lnTo>
                  <a:lnTo>
                    <a:pt x="3452115" y="1723478"/>
                  </a:lnTo>
                  <a:cubicBezTo>
                    <a:pt x="3446277" y="1670071"/>
                    <a:pt x="3438316" y="1616930"/>
                    <a:pt x="3428033" y="1564120"/>
                  </a:cubicBezTo>
                  <a:cubicBezTo>
                    <a:pt x="3407334" y="1458566"/>
                    <a:pt x="3376749" y="1354804"/>
                    <a:pt x="3337141" y="1254625"/>
                  </a:cubicBezTo>
                  <a:cubicBezTo>
                    <a:pt x="3257993" y="1054199"/>
                    <a:pt x="3143019" y="867706"/>
                    <a:pt x="2998986" y="708281"/>
                  </a:cubicBezTo>
                  <a:cubicBezTo>
                    <a:pt x="2963226" y="668209"/>
                    <a:pt x="2924481" y="630991"/>
                    <a:pt x="2884741" y="595165"/>
                  </a:cubicBezTo>
                  <a:cubicBezTo>
                    <a:pt x="2845001" y="559338"/>
                    <a:pt x="2805526" y="523115"/>
                    <a:pt x="2764062" y="489080"/>
                  </a:cubicBezTo>
                  <a:cubicBezTo>
                    <a:pt x="2681397" y="420879"/>
                    <a:pt x="2593225" y="358449"/>
                    <a:pt x="2499017" y="305307"/>
                  </a:cubicBezTo>
                  <a:cubicBezTo>
                    <a:pt x="2404874" y="252298"/>
                    <a:pt x="2304562" y="208246"/>
                    <a:pt x="2199407" y="179452"/>
                  </a:cubicBezTo>
                  <a:cubicBezTo>
                    <a:pt x="2094384" y="150393"/>
                    <a:pt x="1985115" y="135997"/>
                    <a:pt x="1875913" y="136793"/>
                  </a:cubicBezTo>
                  <a:cubicBezTo>
                    <a:pt x="1822174" y="137457"/>
                    <a:pt x="1768369" y="142034"/>
                    <a:pt x="1714962" y="150592"/>
                  </a:cubicBezTo>
                  <a:cubicBezTo>
                    <a:pt x="1661621" y="159284"/>
                    <a:pt x="1608679" y="171292"/>
                    <a:pt x="1556732" y="186949"/>
                  </a:cubicBezTo>
                  <a:cubicBezTo>
                    <a:pt x="1504784" y="202673"/>
                    <a:pt x="1453500" y="221249"/>
                    <a:pt x="1403610" y="243143"/>
                  </a:cubicBezTo>
                  <a:cubicBezTo>
                    <a:pt x="1391203" y="248782"/>
                    <a:pt x="1378664" y="254089"/>
                    <a:pt x="1366324" y="259928"/>
                  </a:cubicBezTo>
                  <a:lnTo>
                    <a:pt x="1329437" y="277708"/>
                  </a:lnTo>
                  <a:lnTo>
                    <a:pt x="1293147" y="296683"/>
                  </a:lnTo>
                  <a:cubicBezTo>
                    <a:pt x="1281138" y="303118"/>
                    <a:pt x="1269263" y="309951"/>
                    <a:pt x="1257321" y="316586"/>
                  </a:cubicBezTo>
                  <a:cubicBezTo>
                    <a:pt x="1162383" y="370855"/>
                    <a:pt x="1072751" y="434678"/>
                    <a:pt x="989557" y="505931"/>
                  </a:cubicBezTo>
                  <a:cubicBezTo>
                    <a:pt x="906162" y="576920"/>
                    <a:pt x="828805" y="655007"/>
                    <a:pt x="758281" y="738401"/>
                  </a:cubicBezTo>
                  <a:cubicBezTo>
                    <a:pt x="722919" y="779999"/>
                    <a:pt x="688885" y="822725"/>
                    <a:pt x="656973" y="866843"/>
                  </a:cubicBezTo>
                  <a:cubicBezTo>
                    <a:pt x="625062" y="910963"/>
                    <a:pt x="594875" y="956209"/>
                    <a:pt x="566148" y="1002185"/>
                  </a:cubicBezTo>
                  <a:cubicBezTo>
                    <a:pt x="509026" y="1094338"/>
                    <a:pt x="459135" y="1190470"/>
                    <a:pt x="417206" y="1289124"/>
                  </a:cubicBezTo>
                  <a:cubicBezTo>
                    <a:pt x="375277" y="1387843"/>
                    <a:pt x="343298" y="1489681"/>
                    <a:pt x="316097" y="1591719"/>
                  </a:cubicBezTo>
                  <a:cubicBezTo>
                    <a:pt x="302497" y="1642737"/>
                    <a:pt x="289693" y="1693955"/>
                    <a:pt x="278945" y="1745770"/>
                  </a:cubicBezTo>
                  <a:cubicBezTo>
                    <a:pt x="268065" y="1797518"/>
                    <a:pt x="260303" y="1849864"/>
                    <a:pt x="255193" y="1902607"/>
                  </a:cubicBezTo>
                  <a:cubicBezTo>
                    <a:pt x="250085" y="1955351"/>
                    <a:pt x="246503" y="2008360"/>
                    <a:pt x="244844" y="2061966"/>
                  </a:cubicBezTo>
                  <a:cubicBezTo>
                    <a:pt x="243716" y="2115505"/>
                    <a:pt x="244911" y="2169509"/>
                    <a:pt x="250417" y="2223447"/>
                  </a:cubicBezTo>
                  <a:cubicBezTo>
                    <a:pt x="256123" y="2277186"/>
                    <a:pt x="266273" y="2331455"/>
                    <a:pt x="282129" y="2381810"/>
                  </a:cubicBezTo>
                  <a:cubicBezTo>
                    <a:pt x="298118" y="2432166"/>
                    <a:pt x="319481" y="2479137"/>
                    <a:pt x="346550" y="2519408"/>
                  </a:cubicBezTo>
                  <a:cubicBezTo>
                    <a:pt x="373817" y="2559679"/>
                    <a:pt x="407122" y="2592320"/>
                    <a:pt x="448255" y="2619787"/>
                  </a:cubicBezTo>
                  <a:cubicBezTo>
                    <a:pt x="468689" y="2633652"/>
                    <a:pt x="491179" y="2646258"/>
                    <a:pt x="515064" y="2658731"/>
                  </a:cubicBezTo>
                  <a:cubicBezTo>
                    <a:pt x="538881" y="2671270"/>
                    <a:pt x="564225" y="2683609"/>
                    <a:pt x="590231" y="2696347"/>
                  </a:cubicBezTo>
                  <a:cubicBezTo>
                    <a:pt x="642311" y="2721957"/>
                    <a:pt x="697112" y="2750352"/>
                    <a:pt x="749324" y="2784386"/>
                  </a:cubicBezTo>
                  <a:cubicBezTo>
                    <a:pt x="801603" y="2818354"/>
                    <a:pt x="851627" y="2857099"/>
                    <a:pt x="897139" y="2899958"/>
                  </a:cubicBezTo>
                  <a:cubicBezTo>
                    <a:pt x="908484" y="2910573"/>
                    <a:pt x="920028" y="2921719"/>
                    <a:pt x="930510" y="2932334"/>
                  </a:cubicBezTo>
                  <a:lnTo>
                    <a:pt x="961625" y="2964245"/>
                  </a:lnTo>
                  <a:lnTo>
                    <a:pt x="1006445" y="3012940"/>
                  </a:lnTo>
                  <a:lnTo>
                    <a:pt x="723915" y="3012940"/>
                  </a:lnTo>
                  <a:lnTo>
                    <a:pt x="702419" y="2992574"/>
                  </a:lnTo>
                  <a:cubicBezTo>
                    <a:pt x="682980" y="2975325"/>
                    <a:pt x="662945" y="2958738"/>
                    <a:pt x="641980" y="2943015"/>
                  </a:cubicBezTo>
                  <a:cubicBezTo>
                    <a:pt x="600315" y="2911302"/>
                    <a:pt x="555599" y="2882575"/>
                    <a:pt x="507102" y="2853649"/>
                  </a:cubicBezTo>
                  <a:cubicBezTo>
                    <a:pt x="458870" y="2824392"/>
                    <a:pt x="405927" y="2794869"/>
                    <a:pt x="353648" y="2755460"/>
                  </a:cubicBezTo>
                  <a:cubicBezTo>
                    <a:pt x="340645" y="2745575"/>
                    <a:pt x="327708" y="2735292"/>
                    <a:pt x="315169" y="2724279"/>
                  </a:cubicBezTo>
                  <a:cubicBezTo>
                    <a:pt x="302629" y="2713199"/>
                    <a:pt x="290422" y="2701523"/>
                    <a:pt x="278679" y="2689448"/>
                  </a:cubicBezTo>
                  <a:cubicBezTo>
                    <a:pt x="255260" y="2665166"/>
                    <a:pt x="233963" y="2638695"/>
                    <a:pt x="215321" y="2611095"/>
                  </a:cubicBezTo>
                  <a:cubicBezTo>
                    <a:pt x="196413" y="2583629"/>
                    <a:pt x="180357" y="2554969"/>
                    <a:pt x="165828" y="2526175"/>
                  </a:cubicBezTo>
                  <a:cubicBezTo>
                    <a:pt x="151564" y="2497315"/>
                    <a:pt x="138959" y="2468124"/>
                    <a:pt x="127349" y="2438999"/>
                  </a:cubicBezTo>
                  <a:cubicBezTo>
                    <a:pt x="104128" y="2380683"/>
                    <a:pt x="84490" y="2322897"/>
                    <a:pt x="66179" y="2263586"/>
                  </a:cubicBezTo>
                  <a:cubicBezTo>
                    <a:pt x="47802" y="2204407"/>
                    <a:pt x="31813" y="2143834"/>
                    <a:pt x="20269" y="2082134"/>
                  </a:cubicBezTo>
                  <a:cubicBezTo>
                    <a:pt x="8792" y="2020434"/>
                    <a:pt x="2223" y="1957607"/>
                    <a:pt x="565" y="1894713"/>
                  </a:cubicBezTo>
                  <a:cubicBezTo>
                    <a:pt x="-2619" y="1768924"/>
                    <a:pt x="7465" y="1642074"/>
                    <a:pt x="35860" y="1519736"/>
                  </a:cubicBezTo>
                  <a:cubicBezTo>
                    <a:pt x="39575" y="1504476"/>
                    <a:pt x="43025" y="1489151"/>
                    <a:pt x="47271" y="1474091"/>
                  </a:cubicBezTo>
                  <a:lnTo>
                    <a:pt x="60275" y="1428977"/>
                  </a:lnTo>
                  <a:lnTo>
                    <a:pt x="74937" y="1384460"/>
                  </a:lnTo>
                  <a:cubicBezTo>
                    <a:pt x="79847" y="1369599"/>
                    <a:pt x="85485" y="1355069"/>
                    <a:pt x="90925" y="1340474"/>
                  </a:cubicBezTo>
                  <a:cubicBezTo>
                    <a:pt x="113151" y="1282224"/>
                    <a:pt x="137765" y="1225168"/>
                    <a:pt x="164965" y="1169638"/>
                  </a:cubicBezTo>
                  <a:cubicBezTo>
                    <a:pt x="219832" y="1058777"/>
                    <a:pt x="283855" y="953489"/>
                    <a:pt x="356369" y="855234"/>
                  </a:cubicBezTo>
                  <a:cubicBezTo>
                    <a:pt x="428617" y="756845"/>
                    <a:pt x="509026" y="665356"/>
                    <a:pt x="595406" y="580834"/>
                  </a:cubicBezTo>
                  <a:cubicBezTo>
                    <a:pt x="681786" y="496312"/>
                    <a:pt x="774933" y="419486"/>
                    <a:pt x="872857" y="350089"/>
                  </a:cubicBezTo>
                  <a:cubicBezTo>
                    <a:pt x="921819" y="315391"/>
                    <a:pt x="972307" y="282949"/>
                    <a:pt x="1023989" y="252696"/>
                  </a:cubicBezTo>
                  <a:cubicBezTo>
                    <a:pt x="1075538" y="222178"/>
                    <a:pt x="1128481" y="194181"/>
                    <a:pt x="1182352" y="168173"/>
                  </a:cubicBezTo>
                  <a:cubicBezTo>
                    <a:pt x="1290228" y="116492"/>
                    <a:pt x="1402813" y="74563"/>
                    <a:pt x="1519048" y="45172"/>
                  </a:cubicBezTo>
                  <a:cubicBezTo>
                    <a:pt x="1577166" y="30576"/>
                    <a:pt x="1636079" y="18833"/>
                    <a:pt x="1695723" y="11336"/>
                  </a:cubicBezTo>
                  <a:cubicBezTo>
                    <a:pt x="1755299" y="3508"/>
                    <a:pt x="1815540" y="-539"/>
                    <a:pt x="1875913" y="58"/>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5" name="Freeform: Shape 84">
              <a:extLst>
                <a:ext uri="{FF2B5EF4-FFF2-40B4-BE49-F238E27FC236}">
                  <a16:creationId xmlns:a16="http://schemas.microsoft.com/office/drawing/2014/main" id="{F7B1333C-C3A9-4254-9B08-9145648FCD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738941" y="3877387"/>
              <a:ext cx="3468924" cy="2988799"/>
            </a:xfrm>
            <a:custGeom>
              <a:avLst/>
              <a:gdLst>
                <a:gd name="connsiteX0" fmla="*/ 1891858 w 3468924"/>
                <a:gd name="connsiteY0" fmla="*/ 0 h 2988799"/>
                <a:gd name="connsiteX1" fmla="*/ 3434545 w 3468924"/>
                <a:gd name="connsiteY1" fmla="*/ 834815 h 2988799"/>
                <a:gd name="connsiteX2" fmla="*/ 3468924 w 3468924"/>
                <a:gd name="connsiteY2" fmla="*/ 892408 h 2988799"/>
                <a:gd name="connsiteX3" fmla="*/ 3468924 w 3468924"/>
                <a:gd name="connsiteY3" fmla="*/ 2896107 h 2988799"/>
                <a:gd name="connsiteX4" fmla="*/ 3408623 w 3468924"/>
                <a:gd name="connsiteY4" fmla="*/ 2988799 h 2988799"/>
                <a:gd name="connsiteX5" fmla="*/ 2978486 w 3468924"/>
                <a:gd name="connsiteY5" fmla="*/ 2988799 h 2988799"/>
                <a:gd name="connsiteX6" fmla="*/ 3044321 w 3468924"/>
                <a:gd name="connsiteY6" fmla="*/ 2919471 h 2988799"/>
                <a:gd name="connsiteX7" fmla="*/ 3320180 w 3468924"/>
                <a:gd name="connsiteY7" fmla="*/ 2451281 h 2988799"/>
                <a:gd name="connsiteX8" fmla="*/ 3420559 w 3468924"/>
                <a:gd name="connsiteY8" fmla="*/ 1893460 h 2988799"/>
                <a:gd name="connsiteX9" fmla="*/ 3299746 w 3468924"/>
                <a:gd name="connsiteY9" fmla="*/ 1283758 h 2988799"/>
                <a:gd name="connsiteX10" fmla="*/ 2970746 w 3468924"/>
                <a:gd name="connsiteY10" fmla="*/ 787106 h 2988799"/>
                <a:gd name="connsiteX11" fmla="*/ 1891858 w 3468924"/>
                <a:gd name="connsiteY11" fmla="*/ 331721 h 2988799"/>
                <a:gd name="connsiteX12" fmla="*/ 1238236 w 3468924"/>
                <a:gd name="connsiteY12" fmla="*/ 518811 h 2988799"/>
                <a:gd name="connsiteX13" fmla="*/ 658721 w 3468924"/>
                <a:gd name="connsiteY13" fmla="*/ 1025348 h 2988799"/>
                <a:gd name="connsiteX14" fmla="*/ 369925 w 3468924"/>
                <a:gd name="connsiteY14" fmla="*/ 1613687 h 2988799"/>
                <a:gd name="connsiteX15" fmla="*/ 374702 w 3468924"/>
                <a:gd name="connsiteY15" fmla="*/ 2234668 h 2988799"/>
                <a:gd name="connsiteX16" fmla="*/ 457433 w 3468924"/>
                <a:gd name="connsiteY16" fmla="*/ 2413398 h 2988799"/>
                <a:gd name="connsiteX17" fmla="*/ 595297 w 3468924"/>
                <a:gd name="connsiteY17" fmla="*/ 2501371 h 2988799"/>
                <a:gd name="connsiteX18" fmla="*/ 1022685 w 3468924"/>
                <a:gd name="connsiteY18" fmla="*/ 2809141 h 2988799"/>
                <a:gd name="connsiteX19" fmla="*/ 1190711 w 3468924"/>
                <a:gd name="connsiteY19" fmla="*/ 2988799 h 2988799"/>
                <a:gd name="connsiteX20" fmla="*/ 730415 w 3468924"/>
                <a:gd name="connsiteY20" fmla="*/ 2988799 h 2988799"/>
                <a:gd name="connsiteX21" fmla="*/ 723963 w 3468924"/>
                <a:gd name="connsiteY21" fmla="*/ 2982673 h 2988799"/>
                <a:gd name="connsiteX22" fmla="*/ 55255 w 3468924"/>
                <a:gd name="connsiteY22" fmla="*/ 2324034 h 2988799"/>
                <a:gd name="connsiteX23" fmla="*/ 1891858 w 3468924"/>
                <a:gd name="connsiteY23" fmla="*/ 0 h 298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68924" h="2988799">
                  <a:moveTo>
                    <a:pt x="1891858" y="0"/>
                  </a:moveTo>
                  <a:cubicBezTo>
                    <a:pt x="2534027" y="0"/>
                    <a:pt x="3100212" y="331151"/>
                    <a:pt x="3434545" y="834815"/>
                  </a:cubicBezTo>
                  <a:lnTo>
                    <a:pt x="3468924" y="892408"/>
                  </a:lnTo>
                  <a:lnTo>
                    <a:pt x="3468924" y="2896107"/>
                  </a:lnTo>
                  <a:lnTo>
                    <a:pt x="3408623" y="2988799"/>
                  </a:lnTo>
                  <a:lnTo>
                    <a:pt x="2978486" y="2988799"/>
                  </a:lnTo>
                  <a:lnTo>
                    <a:pt x="3044321" y="2919471"/>
                  </a:lnTo>
                  <a:cubicBezTo>
                    <a:pt x="3163144" y="2780348"/>
                    <a:pt x="3255959" y="2622780"/>
                    <a:pt x="3320180" y="2451281"/>
                  </a:cubicBezTo>
                  <a:cubicBezTo>
                    <a:pt x="3386790" y="2273545"/>
                    <a:pt x="3420559" y="2085858"/>
                    <a:pt x="3420559" y="1893460"/>
                  </a:cubicBezTo>
                  <a:cubicBezTo>
                    <a:pt x="3420559" y="1681756"/>
                    <a:pt x="3379890" y="1476620"/>
                    <a:pt x="3299746" y="1283758"/>
                  </a:cubicBezTo>
                  <a:cubicBezTo>
                    <a:pt x="3222389" y="1097663"/>
                    <a:pt x="3111727" y="930543"/>
                    <a:pt x="2970746" y="787106"/>
                  </a:cubicBezTo>
                  <a:cubicBezTo>
                    <a:pt x="2682216" y="493468"/>
                    <a:pt x="2299078" y="331721"/>
                    <a:pt x="1891858" y="331721"/>
                  </a:cubicBezTo>
                  <a:cubicBezTo>
                    <a:pt x="1682941" y="331721"/>
                    <a:pt x="1456907" y="396406"/>
                    <a:pt x="1238236" y="518811"/>
                  </a:cubicBezTo>
                  <a:cubicBezTo>
                    <a:pt x="1016382" y="643007"/>
                    <a:pt x="815957" y="818155"/>
                    <a:pt x="658721" y="1025348"/>
                  </a:cubicBezTo>
                  <a:cubicBezTo>
                    <a:pt x="519664" y="1208590"/>
                    <a:pt x="419816" y="1412001"/>
                    <a:pt x="369925" y="1613687"/>
                  </a:cubicBezTo>
                  <a:cubicBezTo>
                    <a:pt x="317381" y="1826254"/>
                    <a:pt x="318973" y="2035171"/>
                    <a:pt x="374702" y="2234668"/>
                  </a:cubicBezTo>
                  <a:cubicBezTo>
                    <a:pt x="398785" y="2320915"/>
                    <a:pt x="426649" y="2381089"/>
                    <a:pt x="457433" y="2413398"/>
                  </a:cubicBezTo>
                  <a:cubicBezTo>
                    <a:pt x="483639" y="2440931"/>
                    <a:pt x="524839" y="2463621"/>
                    <a:pt x="595297" y="2501371"/>
                  </a:cubicBezTo>
                  <a:cubicBezTo>
                    <a:pt x="706489" y="2560882"/>
                    <a:pt x="858815" y="2642352"/>
                    <a:pt x="1022685" y="2809141"/>
                  </a:cubicBezTo>
                  <a:lnTo>
                    <a:pt x="1190711" y="2988799"/>
                  </a:lnTo>
                  <a:lnTo>
                    <a:pt x="730415" y="2988799"/>
                  </a:lnTo>
                  <a:lnTo>
                    <a:pt x="723963" y="2982673"/>
                  </a:lnTo>
                  <a:cubicBezTo>
                    <a:pt x="418202" y="2712535"/>
                    <a:pt x="186990" y="2795491"/>
                    <a:pt x="55255" y="2324034"/>
                  </a:cubicBezTo>
                  <a:cubicBezTo>
                    <a:pt x="-264589" y="1179399"/>
                    <a:pt x="864321" y="0"/>
                    <a:pt x="1891858"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6" name="Freeform: Shape 85">
              <a:extLst>
                <a:ext uri="{FF2B5EF4-FFF2-40B4-BE49-F238E27FC236}">
                  <a16:creationId xmlns:a16="http://schemas.microsoft.com/office/drawing/2014/main" id="{098A0F1E-194A-4DA4-9FC7-FBA0861892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738941" y="3877387"/>
              <a:ext cx="3468924" cy="2988799"/>
            </a:xfrm>
            <a:custGeom>
              <a:avLst/>
              <a:gdLst>
                <a:gd name="connsiteX0" fmla="*/ 1891858 w 3468924"/>
                <a:gd name="connsiteY0" fmla="*/ 0 h 2988799"/>
                <a:gd name="connsiteX1" fmla="*/ 3434545 w 3468924"/>
                <a:gd name="connsiteY1" fmla="*/ 834815 h 2988799"/>
                <a:gd name="connsiteX2" fmla="*/ 3468924 w 3468924"/>
                <a:gd name="connsiteY2" fmla="*/ 892408 h 2988799"/>
                <a:gd name="connsiteX3" fmla="*/ 3468924 w 3468924"/>
                <a:gd name="connsiteY3" fmla="*/ 2896107 h 2988799"/>
                <a:gd name="connsiteX4" fmla="*/ 3408623 w 3468924"/>
                <a:gd name="connsiteY4" fmla="*/ 2988799 h 2988799"/>
                <a:gd name="connsiteX5" fmla="*/ 2887141 w 3468924"/>
                <a:gd name="connsiteY5" fmla="*/ 2988799 h 2988799"/>
                <a:gd name="connsiteX6" fmla="*/ 2993900 w 3468924"/>
                <a:gd name="connsiteY6" fmla="*/ 2876348 h 2988799"/>
                <a:gd name="connsiteX7" fmla="*/ 3258082 w 3468924"/>
                <a:gd name="connsiteY7" fmla="*/ 2427994 h 2988799"/>
                <a:gd name="connsiteX8" fmla="*/ 3354148 w 3468924"/>
                <a:gd name="connsiteY8" fmla="*/ 1893460 h 2988799"/>
                <a:gd name="connsiteX9" fmla="*/ 3238444 w 3468924"/>
                <a:gd name="connsiteY9" fmla="*/ 1309235 h 2988799"/>
                <a:gd name="connsiteX10" fmla="*/ 2923376 w 3468924"/>
                <a:gd name="connsiteY10" fmla="*/ 833613 h 2988799"/>
                <a:gd name="connsiteX11" fmla="*/ 1891858 w 3468924"/>
                <a:gd name="connsiteY11" fmla="*/ 398065 h 2988799"/>
                <a:gd name="connsiteX12" fmla="*/ 1270612 w 3468924"/>
                <a:gd name="connsiteY12" fmla="*/ 576729 h 2988799"/>
                <a:gd name="connsiteX13" fmla="*/ 711531 w 3468924"/>
                <a:gd name="connsiteY13" fmla="*/ 1065486 h 2988799"/>
                <a:gd name="connsiteX14" fmla="*/ 434279 w 3468924"/>
                <a:gd name="connsiteY14" fmla="*/ 1629676 h 2988799"/>
                <a:gd name="connsiteX15" fmla="*/ 438591 w 3468924"/>
                <a:gd name="connsiteY15" fmla="*/ 2216888 h 2988799"/>
                <a:gd name="connsiteX16" fmla="*/ 505466 w 3468924"/>
                <a:gd name="connsiteY16" fmla="*/ 2367688 h 2988799"/>
                <a:gd name="connsiteX17" fmla="*/ 626611 w 3468924"/>
                <a:gd name="connsiteY17" fmla="*/ 2442922 h 2988799"/>
                <a:gd name="connsiteX18" fmla="*/ 1069988 w 3468924"/>
                <a:gd name="connsiteY18" fmla="*/ 2762701 h 2988799"/>
                <a:gd name="connsiteX19" fmla="*/ 1254757 w 3468924"/>
                <a:gd name="connsiteY19" fmla="*/ 2960207 h 2988799"/>
                <a:gd name="connsiteX20" fmla="*/ 1281086 w 3468924"/>
                <a:gd name="connsiteY20" fmla="*/ 2988799 h 2988799"/>
                <a:gd name="connsiteX21" fmla="*/ 730415 w 3468924"/>
                <a:gd name="connsiteY21" fmla="*/ 2988799 h 2988799"/>
                <a:gd name="connsiteX22" fmla="*/ 723963 w 3468924"/>
                <a:gd name="connsiteY22" fmla="*/ 2982673 h 2988799"/>
                <a:gd name="connsiteX23" fmla="*/ 55255 w 3468924"/>
                <a:gd name="connsiteY23" fmla="*/ 2324034 h 2988799"/>
                <a:gd name="connsiteX24" fmla="*/ 1891858 w 3468924"/>
                <a:gd name="connsiteY24" fmla="*/ 0 h 298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68924" h="2988799">
                  <a:moveTo>
                    <a:pt x="1891858" y="0"/>
                  </a:moveTo>
                  <a:cubicBezTo>
                    <a:pt x="2534027" y="0"/>
                    <a:pt x="3100212" y="331151"/>
                    <a:pt x="3434545" y="834815"/>
                  </a:cubicBezTo>
                  <a:lnTo>
                    <a:pt x="3468924" y="892408"/>
                  </a:lnTo>
                  <a:lnTo>
                    <a:pt x="3468924" y="2896107"/>
                  </a:lnTo>
                  <a:lnTo>
                    <a:pt x="3408623" y="2988799"/>
                  </a:lnTo>
                  <a:lnTo>
                    <a:pt x="2887141" y="2988799"/>
                  </a:lnTo>
                  <a:lnTo>
                    <a:pt x="2993900" y="2876348"/>
                  </a:lnTo>
                  <a:cubicBezTo>
                    <a:pt x="3107680" y="2743063"/>
                    <a:pt x="3196581" y="2592262"/>
                    <a:pt x="3258082" y="2427994"/>
                  </a:cubicBezTo>
                  <a:cubicBezTo>
                    <a:pt x="3321839" y="2257689"/>
                    <a:pt x="3354148" y="2077897"/>
                    <a:pt x="3354148" y="1893460"/>
                  </a:cubicBezTo>
                  <a:cubicBezTo>
                    <a:pt x="3354148" y="1690580"/>
                    <a:pt x="3315204" y="1494003"/>
                    <a:pt x="3238444" y="1309235"/>
                  </a:cubicBezTo>
                  <a:cubicBezTo>
                    <a:pt x="3164404" y="1131034"/>
                    <a:pt x="3058386" y="971012"/>
                    <a:pt x="2923376" y="833613"/>
                  </a:cubicBezTo>
                  <a:cubicBezTo>
                    <a:pt x="2647517" y="552713"/>
                    <a:pt x="2281099" y="398065"/>
                    <a:pt x="1891858" y="398065"/>
                  </a:cubicBezTo>
                  <a:cubicBezTo>
                    <a:pt x="1694286" y="398065"/>
                    <a:pt x="1479463" y="459831"/>
                    <a:pt x="1270612" y="576729"/>
                  </a:cubicBezTo>
                  <a:cubicBezTo>
                    <a:pt x="1056653" y="696481"/>
                    <a:pt x="863327" y="865525"/>
                    <a:pt x="711531" y="1065486"/>
                  </a:cubicBezTo>
                  <a:cubicBezTo>
                    <a:pt x="577914" y="1241564"/>
                    <a:pt x="482047" y="1436681"/>
                    <a:pt x="434279" y="1629676"/>
                  </a:cubicBezTo>
                  <a:cubicBezTo>
                    <a:pt x="384521" y="1830964"/>
                    <a:pt x="385915" y="2028537"/>
                    <a:pt x="438591" y="2216888"/>
                  </a:cubicBezTo>
                  <a:cubicBezTo>
                    <a:pt x="459159" y="2290463"/>
                    <a:pt x="482909" y="2344003"/>
                    <a:pt x="505466" y="2367688"/>
                  </a:cubicBezTo>
                  <a:cubicBezTo>
                    <a:pt x="525635" y="2388852"/>
                    <a:pt x="570218" y="2412669"/>
                    <a:pt x="626611" y="2442922"/>
                  </a:cubicBezTo>
                  <a:cubicBezTo>
                    <a:pt x="741585" y="2504423"/>
                    <a:pt x="899085" y="2588746"/>
                    <a:pt x="1069988" y="2762701"/>
                  </a:cubicBezTo>
                  <a:cubicBezTo>
                    <a:pt x="1135337" y="2829177"/>
                    <a:pt x="1196041" y="2895786"/>
                    <a:pt x="1254757" y="2960207"/>
                  </a:cubicBezTo>
                  <a:lnTo>
                    <a:pt x="1281086" y="2988799"/>
                  </a:lnTo>
                  <a:lnTo>
                    <a:pt x="730415" y="2988799"/>
                  </a:lnTo>
                  <a:lnTo>
                    <a:pt x="723963" y="2982673"/>
                  </a:lnTo>
                  <a:cubicBezTo>
                    <a:pt x="418202" y="2712535"/>
                    <a:pt x="186990" y="2795491"/>
                    <a:pt x="55255" y="2324034"/>
                  </a:cubicBezTo>
                  <a:cubicBezTo>
                    <a:pt x="-264589" y="1179399"/>
                    <a:pt x="864321" y="0"/>
                    <a:pt x="1891858"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useBgFill="1">
          <p:nvSpPr>
            <p:cNvPr id="87" name="Freeform: Shape 86">
              <a:extLst>
                <a:ext uri="{FF2B5EF4-FFF2-40B4-BE49-F238E27FC236}">
                  <a16:creationId xmlns:a16="http://schemas.microsoft.com/office/drawing/2014/main" id="{4A7ED200-666A-47C2-BE0A-8D62A0CE5D1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694415" y="3850186"/>
              <a:ext cx="3513450" cy="3016000"/>
            </a:xfrm>
            <a:custGeom>
              <a:avLst/>
              <a:gdLst>
                <a:gd name="connsiteX0" fmla="*/ 3513450 w 3513450"/>
                <a:gd name="connsiteY0" fmla="*/ 2626108 h 3016000"/>
                <a:gd name="connsiteX1" fmla="*/ 3513450 w 3513450"/>
                <a:gd name="connsiteY1" fmla="*/ 2994301 h 3016000"/>
                <a:gd name="connsiteX2" fmla="*/ 3513310 w 3513450"/>
                <a:gd name="connsiteY2" fmla="*/ 2994532 h 3016000"/>
                <a:gd name="connsiteX3" fmla="*/ 3497256 w 3513450"/>
                <a:gd name="connsiteY3" fmla="*/ 3016000 h 3016000"/>
                <a:gd name="connsiteX4" fmla="*/ 3273695 w 3513450"/>
                <a:gd name="connsiteY4" fmla="*/ 3016000 h 3016000"/>
                <a:gd name="connsiteX5" fmla="*/ 3310360 w 3513450"/>
                <a:gd name="connsiteY5" fmla="*/ 2972167 h 3016000"/>
                <a:gd name="connsiteX6" fmla="*/ 3489493 w 3513450"/>
                <a:gd name="connsiteY6" fmla="*/ 2681136 h 3016000"/>
                <a:gd name="connsiteX7" fmla="*/ 1920661 w 3513450"/>
                <a:gd name="connsiteY7" fmla="*/ 0 h 3016000"/>
                <a:gd name="connsiteX8" fmla="*/ 3513310 w 3513450"/>
                <a:gd name="connsiteY8" fmla="*/ 846791 h 3016000"/>
                <a:gd name="connsiteX9" fmla="*/ 3513450 w 3513450"/>
                <a:gd name="connsiteY9" fmla="*/ 847022 h 3016000"/>
                <a:gd name="connsiteX10" fmla="*/ 3513450 w 3513450"/>
                <a:gd name="connsiteY10" fmla="*/ 1116491 h 3016000"/>
                <a:gd name="connsiteX11" fmla="*/ 3478369 w 3513450"/>
                <a:gd name="connsiteY11" fmla="*/ 1037391 h 3016000"/>
                <a:gd name="connsiteX12" fmla="*/ 3187966 w 3513450"/>
                <a:gd name="connsiteY12" fmla="*/ 607845 h 3016000"/>
                <a:gd name="connsiteX13" fmla="*/ 2623709 w 3513450"/>
                <a:gd name="connsiteY13" fmla="*/ 185034 h 3016000"/>
                <a:gd name="connsiteX14" fmla="*/ 2582642 w 3513450"/>
                <a:gd name="connsiteY14" fmla="*/ 166789 h 3016000"/>
                <a:gd name="connsiteX15" fmla="*/ 2541243 w 3513450"/>
                <a:gd name="connsiteY15" fmla="*/ 149142 h 3016000"/>
                <a:gd name="connsiteX16" fmla="*/ 2499115 w 3513450"/>
                <a:gd name="connsiteY16" fmla="*/ 133153 h 3016000"/>
                <a:gd name="connsiteX17" fmla="*/ 2456655 w 3513450"/>
                <a:gd name="connsiteY17" fmla="*/ 117827 h 3016000"/>
                <a:gd name="connsiteX18" fmla="*/ 2413664 w 3513450"/>
                <a:gd name="connsiteY18" fmla="*/ 104028 h 3016000"/>
                <a:gd name="connsiteX19" fmla="*/ 2370407 w 3513450"/>
                <a:gd name="connsiteY19" fmla="*/ 90958 h 3016000"/>
                <a:gd name="connsiteX20" fmla="*/ 2326620 w 3513450"/>
                <a:gd name="connsiteY20" fmla="*/ 79547 h 3016000"/>
                <a:gd name="connsiteX21" fmla="*/ 2304660 w 3513450"/>
                <a:gd name="connsiteY21" fmla="*/ 73908 h 3016000"/>
                <a:gd name="connsiteX22" fmla="*/ 2293714 w 3513450"/>
                <a:gd name="connsiteY22" fmla="*/ 71121 h 3016000"/>
                <a:gd name="connsiteX23" fmla="*/ 2282634 w 3513450"/>
                <a:gd name="connsiteY23" fmla="*/ 68866 h 3016000"/>
                <a:gd name="connsiteX24" fmla="*/ 1922386 w 3513450"/>
                <a:gd name="connsiteY24" fmla="*/ 28926 h 3016000"/>
                <a:gd name="connsiteX25" fmla="*/ 1563995 w 3513450"/>
                <a:gd name="connsiteY25" fmla="*/ 77623 h 3016000"/>
                <a:gd name="connsiteX26" fmla="*/ 1392496 w 3513450"/>
                <a:gd name="connsiteY26" fmla="*/ 134811 h 3016000"/>
                <a:gd name="connsiteX27" fmla="*/ 1228891 w 3513450"/>
                <a:gd name="connsiteY27" fmla="*/ 210377 h 3016000"/>
                <a:gd name="connsiteX28" fmla="*/ 1074309 w 3513450"/>
                <a:gd name="connsiteY28" fmla="*/ 301601 h 3016000"/>
                <a:gd name="connsiteX29" fmla="*/ 929679 w 3513450"/>
                <a:gd name="connsiteY29" fmla="*/ 406557 h 3016000"/>
                <a:gd name="connsiteX30" fmla="*/ 795001 w 3513450"/>
                <a:gd name="connsiteY30" fmla="*/ 522526 h 3016000"/>
                <a:gd name="connsiteX31" fmla="*/ 670937 w 3513450"/>
                <a:gd name="connsiteY31" fmla="*/ 648448 h 3016000"/>
                <a:gd name="connsiteX32" fmla="*/ 557091 w 3513450"/>
                <a:gd name="connsiteY32" fmla="*/ 782330 h 3016000"/>
                <a:gd name="connsiteX33" fmla="*/ 454258 w 3513450"/>
                <a:gd name="connsiteY33" fmla="*/ 923576 h 3016000"/>
                <a:gd name="connsiteX34" fmla="*/ 362703 w 3513450"/>
                <a:gd name="connsiteY34" fmla="*/ 1071125 h 3016000"/>
                <a:gd name="connsiteX35" fmla="*/ 283223 w 3513450"/>
                <a:gd name="connsiteY35" fmla="*/ 1224313 h 3016000"/>
                <a:gd name="connsiteX36" fmla="*/ 165926 w 3513450"/>
                <a:gd name="connsiteY36" fmla="*/ 1545817 h 3016000"/>
                <a:gd name="connsiteX37" fmla="*/ 131162 w 3513450"/>
                <a:gd name="connsiteY37" fmla="*/ 1712540 h 3016000"/>
                <a:gd name="connsiteX38" fmla="*/ 125191 w 3513450"/>
                <a:gd name="connsiteY38" fmla="*/ 1754668 h 3016000"/>
                <a:gd name="connsiteX39" fmla="*/ 120348 w 3513450"/>
                <a:gd name="connsiteY39" fmla="*/ 1796929 h 3016000"/>
                <a:gd name="connsiteX40" fmla="*/ 116433 w 3513450"/>
                <a:gd name="connsiteY40" fmla="*/ 1839257 h 3016000"/>
                <a:gd name="connsiteX41" fmla="*/ 113846 w 3513450"/>
                <a:gd name="connsiteY41" fmla="*/ 1881717 h 3016000"/>
                <a:gd name="connsiteX42" fmla="*/ 115704 w 3513450"/>
                <a:gd name="connsiteY42" fmla="*/ 2051956 h 3016000"/>
                <a:gd name="connsiteX43" fmla="*/ 119021 w 3513450"/>
                <a:gd name="connsiteY43" fmla="*/ 2094483 h 3016000"/>
                <a:gd name="connsiteX44" fmla="*/ 123599 w 3513450"/>
                <a:gd name="connsiteY44" fmla="*/ 2136943 h 3016000"/>
                <a:gd name="connsiteX45" fmla="*/ 129702 w 3513450"/>
                <a:gd name="connsiteY45" fmla="*/ 2179270 h 3016000"/>
                <a:gd name="connsiteX46" fmla="*/ 136934 w 3513450"/>
                <a:gd name="connsiteY46" fmla="*/ 2221531 h 3016000"/>
                <a:gd name="connsiteX47" fmla="*/ 178930 w 3513450"/>
                <a:gd name="connsiteY47" fmla="*/ 2387060 h 3016000"/>
                <a:gd name="connsiteX48" fmla="*/ 249454 w 3513450"/>
                <a:gd name="connsiteY48" fmla="*/ 2536069 h 3016000"/>
                <a:gd name="connsiteX49" fmla="*/ 362969 w 3513450"/>
                <a:gd name="connsiteY49" fmla="*/ 2653232 h 3016000"/>
                <a:gd name="connsiteX50" fmla="*/ 514034 w 3513450"/>
                <a:gd name="connsiteY50" fmla="*/ 2745916 h 3016000"/>
                <a:gd name="connsiteX51" fmla="*/ 814440 w 3513450"/>
                <a:gd name="connsiteY51" fmla="*/ 2965249 h 3016000"/>
                <a:gd name="connsiteX52" fmla="*/ 864013 w 3513450"/>
                <a:gd name="connsiteY52" fmla="*/ 3016000 h 3016000"/>
                <a:gd name="connsiteX53" fmla="*/ 344066 w 3513450"/>
                <a:gd name="connsiteY53" fmla="*/ 3016000 h 3016000"/>
                <a:gd name="connsiteX54" fmla="*/ 328012 w 3513450"/>
                <a:gd name="connsiteY54" fmla="*/ 2994532 h 3016000"/>
                <a:gd name="connsiteX55" fmla="*/ 0 w 3513450"/>
                <a:gd name="connsiteY55" fmla="*/ 1920662 h 3016000"/>
                <a:gd name="connsiteX56" fmla="*/ 1920661 w 3513450"/>
                <a:gd name="connsiteY56" fmla="*/ 0 h 30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513450" h="3016000">
                  <a:moveTo>
                    <a:pt x="3513450" y="2626108"/>
                  </a:moveTo>
                  <a:lnTo>
                    <a:pt x="3513450" y="2994301"/>
                  </a:lnTo>
                  <a:lnTo>
                    <a:pt x="3513310" y="2994532"/>
                  </a:lnTo>
                  <a:lnTo>
                    <a:pt x="3497256" y="3016000"/>
                  </a:lnTo>
                  <a:lnTo>
                    <a:pt x="3273695" y="3016000"/>
                  </a:lnTo>
                  <a:lnTo>
                    <a:pt x="3310360" y="2972167"/>
                  </a:lnTo>
                  <a:cubicBezTo>
                    <a:pt x="3379362" y="2880915"/>
                    <a:pt x="3439267" y="2783236"/>
                    <a:pt x="3489493" y="2681136"/>
                  </a:cubicBezTo>
                  <a:close/>
                  <a:moveTo>
                    <a:pt x="1920661" y="0"/>
                  </a:moveTo>
                  <a:cubicBezTo>
                    <a:pt x="2583646" y="0"/>
                    <a:pt x="3168158" y="335893"/>
                    <a:pt x="3513310" y="846791"/>
                  </a:cubicBezTo>
                  <a:lnTo>
                    <a:pt x="3513450" y="847022"/>
                  </a:lnTo>
                  <a:lnTo>
                    <a:pt x="3513450" y="1116491"/>
                  </a:lnTo>
                  <a:lnTo>
                    <a:pt x="3478369" y="1037391"/>
                  </a:lnTo>
                  <a:cubicBezTo>
                    <a:pt x="3401925" y="883405"/>
                    <a:pt x="3304797" y="738310"/>
                    <a:pt x="3187966" y="607845"/>
                  </a:cubicBezTo>
                  <a:cubicBezTo>
                    <a:pt x="3032654" y="433957"/>
                    <a:pt x="2841185" y="286209"/>
                    <a:pt x="2623709" y="185034"/>
                  </a:cubicBezTo>
                  <a:lnTo>
                    <a:pt x="2582642" y="166789"/>
                  </a:lnTo>
                  <a:cubicBezTo>
                    <a:pt x="2568909" y="160818"/>
                    <a:pt x="2555375" y="154184"/>
                    <a:pt x="2541243" y="149142"/>
                  </a:cubicBezTo>
                  <a:lnTo>
                    <a:pt x="2499115" y="133153"/>
                  </a:lnTo>
                  <a:cubicBezTo>
                    <a:pt x="2484984" y="127978"/>
                    <a:pt x="2471118" y="122139"/>
                    <a:pt x="2456655" y="117827"/>
                  </a:cubicBezTo>
                  <a:lnTo>
                    <a:pt x="2413664" y="104028"/>
                  </a:lnTo>
                  <a:cubicBezTo>
                    <a:pt x="2399267" y="99582"/>
                    <a:pt x="2385069" y="94408"/>
                    <a:pt x="2370407" y="90958"/>
                  </a:cubicBezTo>
                  <a:lnTo>
                    <a:pt x="2326620" y="79547"/>
                  </a:lnTo>
                  <a:lnTo>
                    <a:pt x="2304660" y="73908"/>
                  </a:lnTo>
                  <a:lnTo>
                    <a:pt x="2293714" y="71121"/>
                  </a:lnTo>
                  <a:lnTo>
                    <a:pt x="2282634" y="68866"/>
                  </a:lnTo>
                  <a:cubicBezTo>
                    <a:pt x="2164675" y="42660"/>
                    <a:pt x="2043597" y="29325"/>
                    <a:pt x="1922386" y="28926"/>
                  </a:cubicBezTo>
                  <a:cubicBezTo>
                    <a:pt x="1801374" y="28794"/>
                    <a:pt x="1680562" y="46242"/>
                    <a:pt x="1563995" y="77623"/>
                  </a:cubicBezTo>
                  <a:cubicBezTo>
                    <a:pt x="1505679" y="93213"/>
                    <a:pt x="1448424" y="112520"/>
                    <a:pt x="1392496" y="134811"/>
                  </a:cubicBezTo>
                  <a:cubicBezTo>
                    <a:pt x="1336435" y="156771"/>
                    <a:pt x="1281967" y="182447"/>
                    <a:pt x="1228891" y="210377"/>
                  </a:cubicBezTo>
                  <a:cubicBezTo>
                    <a:pt x="1175749" y="238176"/>
                    <a:pt x="1124333" y="269026"/>
                    <a:pt x="1074309" y="301601"/>
                  </a:cubicBezTo>
                  <a:cubicBezTo>
                    <a:pt x="1024419" y="334440"/>
                    <a:pt x="976253" y="369669"/>
                    <a:pt x="929679" y="406557"/>
                  </a:cubicBezTo>
                  <a:cubicBezTo>
                    <a:pt x="883105" y="443444"/>
                    <a:pt x="838191" y="482189"/>
                    <a:pt x="795001" y="522526"/>
                  </a:cubicBezTo>
                  <a:cubicBezTo>
                    <a:pt x="751744" y="562797"/>
                    <a:pt x="710678" y="605191"/>
                    <a:pt x="670937" y="648448"/>
                  </a:cubicBezTo>
                  <a:cubicBezTo>
                    <a:pt x="631263" y="691836"/>
                    <a:pt x="593249" y="736486"/>
                    <a:pt x="557091" y="782330"/>
                  </a:cubicBezTo>
                  <a:cubicBezTo>
                    <a:pt x="521199" y="828439"/>
                    <a:pt x="486634" y="875344"/>
                    <a:pt x="454258" y="923576"/>
                  </a:cubicBezTo>
                  <a:cubicBezTo>
                    <a:pt x="421815" y="971742"/>
                    <a:pt x="391032" y="1020837"/>
                    <a:pt x="362703" y="1071125"/>
                  </a:cubicBezTo>
                  <a:cubicBezTo>
                    <a:pt x="334109" y="1121281"/>
                    <a:pt x="307637" y="1172433"/>
                    <a:pt x="283223" y="1224313"/>
                  </a:cubicBezTo>
                  <a:cubicBezTo>
                    <a:pt x="234526" y="1328275"/>
                    <a:pt x="195118" y="1435885"/>
                    <a:pt x="165926" y="1545817"/>
                  </a:cubicBezTo>
                  <a:cubicBezTo>
                    <a:pt x="151662" y="1600883"/>
                    <a:pt x="140052" y="1656479"/>
                    <a:pt x="131162" y="1712540"/>
                  </a:cubicBezTo>
                  <a:cubicBezTo>
                    <a:pt x="128973" y="1726538"/>
                    <a:pt x="126651" y="1740537"/>
                    <a:pt x="125191" y="1754668"/>
                  </a:cubicBezTo>
                  <a:cubicBezTo>
                    <a:pt x="123599" y="1768733"/>
                    <a:pt x="121475" y="1782798"/>
                    <a:pt x="120348" y="1796929"/>
                  </a:cubicBezTo>
                  <a:cubicBezTo>
                    <a:pt x="119088" y="1811061"/>
                    <a:pt x="117561" y="1825126"/>
                    <a:pt x="116433" y="1839257"/>
                  </a:cubicBezTo>
                  <a:lnTo>
                    <a:pt x="113846" y="1881717"/>
                  </a:lnTo>
                  <a:cubicBezTo>
                    <a:pt x="111591" y="1938376"/>
                    <a:pt x="111657" y="1995232"/>
                    <a:pt x="115704" y="2051956"/>
                  </a:cubicBezTo>
                  <a:cubicBezTo>
                    <a:pt x="116898" y="2066088"/>
                    <a:pt x="117296" y="2080351"/>
                    <a:pt x="119021" y="2094483"/>
                  </a:cubicBezTo>
                  <a:lnTo>
                    <a:pt x="123599" y="2136943"/>
                  </a:lnTo>
                  <a:lnTo>
                    <a:pt x="129702" y="2179270"/>
                  </a:lnTo>
                  <a:cubicBezTo>
                    <a:pt x="131693" y="2193401"/>
                    <a:pt x="134546" y="2207400"/>
                    <a:pt x="136934" y="2221531"/>
                  </a:cubicBezTo>
                  <a:cubicBezTo>
                    <a:pt x="147549" y="2277725"/>
                    <a:pt x="160951" y="2333786"/>
                    <a:pt x="178930" y="2387060"/>
                  </a:cubicBezTo>
                  <a:cubicBezTo>
                    <a:pt x="196909" y="2440334"/>
                    <a:pt x="219267" y="2491221"/>
                    <a:pt x="249454" y="2536069"/>
                  </a:cubicBezTo>
                  <a:cubicBezTo>
                    <a:pt x="279176" y="2581382"/>
                    <a:pt x="317324" y="2619862"/>
                    <a:pt x="362969" y="2653232"/>
                  </a:cubicBezTo>
                  <a:cubicBezTo>
                    <a:pt x="408414" y="2686803"/>
                    <a:pt x="461025" y="2715397"/>
                    <a:pt x="514034" y="2745916"/>
                  </a:cubicBezTo>
                  <a:cubicBezTo>
                    <a:pt x="621113" y="2805691"/>
                    <a:pt x="726600" y="2877741"/>
                    <a:pt x="814440" y="2965249"/>
                  </a:cubicBezTo>
                  <a:lnTo>
                    <a:pt x="864013" y="3016000"/>
                  </a:lnTo>
                  <a:lnTo>
                    <a:pt x="344066" y="3016000"/>
                  </a:lnTo>
                  <a:lnTo>
                    <a:pt x="328012" y="2994532"/>
                  </a:lnTo>
                  <a:cubicBezTo>
                    <a:pt x="120921" y="2687993"/>
                    <a:pt x="0" y="2318452"/>
                    <a:pt x="0" y="1920662"/>
                  </a:cubicBezTo>
                  <a:cubicBezTo>
                    <a:pt x="0" y="859886"/>
                    <a:pt x="859885" y="0"/>
                    <a:pt x="192066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4" name="Title 1">
            <a:extLst>
              <a:ext uri="{FF2B5EF4-FFF2-40B4-BE49-F238E27FC236}">
                <a16:creationId xmlns:a16="http://schemas.microsoft.com/office/drawing/2014/main" id="{92CEE603-027C-40A5-A949-78CA09A3BBFE}"/>
              </a:ext>
            </a:extLst>
          </p:cNvPr>
          <p:cNvSpPr>
            <a:spLocks noGrp="1"/>
          </p:cNvSpPr>
          <p:nvPr>
            <p:ph type="title"/>
          </p:nvPr>
        </p:nvSpPr>
        <p:spPr>
          <a:xfrm>
            <a:off x="2906409" y="193356"/>
            <a:ext cx="5281712" cy="731158"/>
          </a:xfrm>
        </p:spPr>
        <p:txBody>
          <a:bodyPr vert="horz" lIns="91440" tIns="45720" rIns="91440" bIns="45720" rtlCol="0" anchor="ctr">
            <a:normAutofit fontScale="90000"/>
          </a:bodyPr>
          <a:lstStyle/>
          <a:p>
            <a:r>
              <a:rPr lang="en-US" sz="2800" b="1" i="1" kern="1200" dirty="0">
                <a:solidFill>
                  <a:schemeClr val="accent5"/>
                </a:solidFill>
                <a:latin typeface="Calibri" panose="020F0502020204030204" pitchFamily="34" charset="0"/>
                <a:cs typeface="Calibri" panose="020F0502020204030204" pitchFamily="34" charset="0"/>
                <a:sym typeface="Lustria"/>
              </a:rPr>
              <a:t>What Is Project-Based Learning (PBL)?</a:t>
            </a:r>
            <a:endParaRPr lang="en-US" sz="2800" b="1" i="1" kern="1200" dirty="0">
              <a:solidFill>
                <a:schemeClr val="accent5"/>
              </a:solidFill>
              <a:latin typeface="Calibri" panose="020F0502020204030204" pitchFamily="34" charset="0"/>
              <a:cs typeface="Calibri" panose="020F0502020204030204" pitchFamily="34" charset="0"/>
            </a:endParaRPr>
          </a:p>
        </p:txBody>
      </p:sp>
      <p:sp>
        <p:nvSpPr>
          <p:cNvPr id="58" name="TextBox 3">
            <a:extLst>
              <a:ext uri="{FF2B5EF4-FFF2-40B4-BE49-F238E27FC236}">
                <a16:creationId xmlns:a16="http://schemas.microsoft.com/office/drawing/2014/main" id="{7725EAFA-0EC9-4844-A1C2-D6856358A319}"/>
              </a:ext>
            </a:extLst>
          </p:cNvPr>
          <p:cNvSpPr txBox="1"/>
          <p:nvPr/>
        </p:nvSpPr>
        <p:spPr>
          <a:xfrm>
            <a:off x="3592883" y="2458930"/>
            <a:ext cx="5099225" cy="3561060"/>
          </a:xfrm>
          <a:prstGeom prst="rect">
            <a:avLst/>
          </a:prstGeom>
        </p:spPr>
        <p:txBody>
          <a:bodyPr vert="horz" lIns="91440" tIns="45720" rIns="91440" bIns="45720" rtlCol="0" anchor="ctr">
            <a:normAutofit/>
          </a:bodyPr>
          <a:lstStyle/>
          <a:p>
            <a:pPr marL="25400" marR="0" lvl="0" fontAlgn="auto">
              <a:lnSpc>
                <a:spcPct val="90000"/>
              </a:lnSpc>
              <a:spcBef>
                <a:spcPts val="0"/>
              </a:spcBef>
              <a:spcAft>
                <a:spcPts val="600"/>
              </a:spcAft>
              <a:buClrTx/>
              <a:buSzPct val="100000"/>
              <a:tabLst/>
              <a:defRPr/>
            </a:pPr>
            <a:endParaRPr kumimoji="0" lang="en-US" b="0" i="0" u="none" strike="noStrike" cap="none" spc="0" normalizeH="0" baseline="0" noProof="0" dirty="0">
              <a:ln>
                <a:noFill/>
              </a:ln>
              <a:effectLst/>
              <a:uLnTx/>
              <a:uFillTx/>
            </a:endParaRPr>
          </a:p>
        </p:txBody>
      </p:sp>
      <p:graphicFrame>
        <p:nvGraphicFramePr>
          <p:cNvPr id="2" name="Diagram 1">
            <a:extLst>
              <a:ext uri="{FF2B5EF4-FFF2-40B4-BE49-F238E27FC236}">
                <a16:creationId xmlns:a16="http://schemas.microsoft.com/office/drawing/2014/main" id="{B5202A34-0EAD-3546-BF59-0E2CB21ABBC0}"/>
              </a:ext>
            </a:extLst>
          </p:cNvPr>
          <p:cNvGraphicFramePr/>
          <p:nvPr>
            <p:extLst>
              <p:ext uri="{D42A27DB-BD31-4B8C-83A1-F6EECF244321}">
                <p14:modId xmlns:p14="http://schemas.microsoft.com/office/powerpoint/2010/main" val="3013533412"/>
              </p:ext>
            </p:extLst>
          </p:nvPr>
        </p:nvGraphicFramePr>
        <p:xfrm>
          <a:off x="2399198" y="1477111"/>
          <a:ext cx="7075306" cy="478661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extBox 3">
            <a:extLst>
              <a:ext uri="{FF2B5EF4-FFF2-40B4-BE49-F238E27FC236}">
                <a16:creationId xmlns:a16="http://schemas.microsoft.com/office/drawing/2014/main" id="{F1D13C5B-BC8F-F30C-E544-7ED75CE6746F}"/>
              </a:ext>
            </a:extLst>
          </p:cNvPr>
          <p:cNvSpPr txBox="1"/>
          <p:nvPr/>
        </p:nvSpPr>
        <p:spPr>
          <a:xfrm>
            <a:off x="3801051" y="2618818"/>
            <a:ext cx="1727948" cy="307777"/>
          </a:xfrm>
          <a:prstGeom prst="rect">
            <a:avLst/>
          </a:prstGeom>
          <a:noFill/>
        </p:spPr>
        <p:txBody>
          <a:bodyPr wrap="square">
            <a:spAutoFit/>
          </a:bodyPr>
          <a:lstStyle/>
          <a:p>
            <a:pPr algn="ctr"/>
            <a:r>
              <a:rPr kumimoji="0" lang="en-US" sz="1400" b="0" i="0" u="none" strike="noStrike" cap="none" spc="0" normalizeH="0" baseline="0" noProof="0" dirty="0">
                <a:ln>
                  <a:noFill/>
                </a:ln>
                <a:solidFill>
                  <a:schemeClr val="bg1"/>
                </a:solidFill>
                <a:effectLst/>
                <a:uLnTx/>
                <a:uFillTx/>
              </a:rPr>
              <a:t>Curriculum Content</a:t>
            </a:r>
            <a:endParaRPr lang="en-QA" sz="1400" dirty="0">
              <a:solidFill>
                <a:schemeClr val="bg1"/>
              </a:solidFill>
            </a:endParaRPr>
          </a:p>
        </p:txBody>
      </p:sp>
      <p:sp>
        <p:nvSpPr>
          <p:cNvPr id="5" name="TextBox 4">
            <a:extLst>
              <a:ext uri="{FF2B5EF4-FFF2-40B4-BE49-F238E27FC236}">
                <a16:creationId xmlns:a16="http://schemas.microsoft.com/office/drawing/2014/main" id="{369D4226-BB0A-404C-D629-6E5D8A0AED16}"/>
              </a:ext>
            </a:extLst>
          </p:cNvPr>
          <p:cNvSpPr txBox="1"/>
          <p:nvPr/>
        </p:nvSpPr>
        <p:spPr>
          <a:xfrm>
            <a:off x="5487943" y="2631963"/>
            <a:ext cx="1727948" cy="307777"/>
          </a:xfrm>
          <a:prstGeom prst="rect">
            <a:avLst/>
          </a:prstGeom>
          <a:noFill/>
        </p:spPr>
        <p:txBody>
          <a:bodyPr wrap="square">
            <a:spAutoFit/>
          </a:bodyPr>
          <a:lstStyle/>
          <a:p>
            <a:pPr algn="ctr"/>
            <a:r>
              <a:rPr kumimoji="0" lang="en-US" sz="1400" b="0" i="0" u="none" strike="noStrike" cap="none" spc="0" normalizeH="0" baseline="0" noProof="0" dirty="0">
                <a:ln>
                  <a:noFill/>
                </a:ln>
                <a:solidFill>
                  <a:schemeClr val="bg1"/>
                </a:solidFill>
                <a:effectLst/>
                <a:uLnTx/>
                <a:uFillTx/>
              </a:rPr>
              <a:t>Real World </a:t>
            </a:r>
            <a:r>
              <a:rPr lang="en-US" sz="1400" dirty="0">
                <a:solidFill>
                  <a:schemeClr val="bg1"/>
                </a:solidFill>
              </a:rPr>
              <a:t>Problem</a:t>
            </a:r>
            <a:endParaRPr lang="en-QA" sz="1400" dirty="0">
              <a:solidFill>
                <a:schemeClr val="bg1"/>
              </a:solidFill>
            </a:endParaRPr>
          </a:p>
        </p:txBody>
      </p:sp>
      <p:sp>
        <p:nvSpPr>
          <p:cNvPr id="6" name="TextBox 5">
            <a:extLst>
              <a:ext uri="{FF2B5EF4-FFF2-40B4-BE49-F238E27FC236}">
                <a16:creationId xmlns:a16="http://schemas.microsoft.com/office/drawing/2014/main" id="{D7DEAA05-B200-7FCE-8F71-4596E5EECD4B}"/>
              </a:ext>
            </a:extLst>
          </p:cNvPr>
          <p:cNvSpPr txBox="1"/>
          <p:nvPr/>
        </p:nvSpPr>
        <p:spPr>
          <a:xfrm>
            <a:off x="4643393" y="4168437"/>
            <a:ext cx="1727948" cy="307777"/>
          </a:xfrm>
          <a:prstGeom prst="rect">
            <a:avLst/>
          </a:prstGeom>
          <a:noFill/>
        </p:spPr>
        <p:txBody>
          <a:bodyPr wrap="square">
            <a:spAutoFit/>
          </a:bodyPr>
          <a:lstStyle/>
          <a:p>
            <a:pPr algn="ctr"/>
            <a:r>
              <a:rPr kumimoji="0" lang="en-US" sz="1400" b="0" i="0" u="none" strike="noStrike" cap="none" spc="0" normalizeH="0" baseline="0" noProof="0" dirty="0">
                <a:ln>
                  <a:noFill/>
                </a:ln>
                <a:solidFill>
                  <a:schemeClr val="bg1"/>
                </a:solidFill>
                <a:effectLst/>
                <a:uLnTx/>
                <a:uFillTx/>
              </a:rPr>
              <a:t>21</a:t>
            </a:r>
            <a:r>
              <a:rPr kumimoji="0" lang="en-US" sz="1400" b="0" i="0" u="none" strike="noStrike" cap="none" spc="0" normalizeH="0" baseline="30000" noProof="0" dirty="0">
                <a:ln>
                  <a:noFill/>
                </a:ln>
                <a:solidFill>
                  <a:schemeClr val="bg1"/>
                </a:solidFill>
                <a:effectLst/>
                <a:uLnTx/>
                <a:uFillTx/>
              </a:rPr>
              <a:t>st</a:t>
            </a:r>
            <a:r>
              <a:rPr kumimoji="0" lang="en-US" sz="1400" b="0" i="0" u="none" strike="noStrike" cap="none" spc="0" normalizeH="0" baseline="0" noProof="0" dirty="0">
                <a:ln>
                  <a:noFill/>
                </a:ln>
                <a:solidFill>
                  <a:schemeClr val="bg1"/>
                </a:solidFill>
                <a:effectLst/>
                <a:uLnTx/>
                <a:uFillTx/>
              </a:rPr>
              <a:t> Century </a:t>
            </a:r>
            <a:r>
              <a:rPr lang="en-US" sz="1400" dirty="0">
                <a:solidFill>
                  <a:schemeClr val="bg1"/>
                </a:solidFill>
              </a:rPr>
              <a:t>S</a:t>
            </a:r>
            <a:r>
              <a:rPr kumimoji="0" lang="en-US" sz="1400" b="0" i="0" u="none" strike="noStrike" cap="none" spc="0" normalizeH="0" baseline="0" noProof="0" dirty="0">
                <a:ln>
                  <a:noFill/>
                </a:ln>
                <a:solidFill>
                  <a:schemeClr val="bg1"/>
                </a:solidFill>
                <a:effectLst/>
                <a:uLnTx/>
                <a:uFillTx/>
              </a:rPr>
              <a:t>kills</a:t>
            </a:r>
            <a:endParaRPr lang="en-QA" sz="1400" dirty="0">
              <a:solidFill>
                <a:schemeClr val="bg1"/>
              </a:solidFill>
            </a:endParaRPr>
          </a:p>
        </p:txBody>
      </p:sp>
      <p:sp>
        <p:nvSpPr>
          <p:cNvPr id="7" name="TextBox 6">
            <a:extLst>
              <a:ext uri="{FF2B5EF4-FFF2-40B4-BE49-F238E27FC236}">
                <a16:creationId xmlns:a16="http://schemas.microsoft.com/office/drawing/2014/main" id="{C019D874-5E7A-33AA-0EA7-E5F9213F0C8C}"/>
              </a:ext>
            </a:extLst>
          </p:cNvPr>
          <p:cNvSpPr txBox="1"/>
          <p:nvPr/>
        </p:nvSpPr>
        <p:spPr>
          <a:xfrm>
            <a:off x="6289739" y="4120405"/>
            <a:ext cx="1727948" cy="523220"/>
          </a:xfrm>
          <a:prstGeom prst="rect">
            <a:avLst/>
          </a:prstGeom>
          <a:noFill/>
        </p:spPr>
        <p:txBody>
          <a:bodyPr wrap="square">
            <a:spAutoFit/>
          </a:bodyPr>
          <a:lstStyle/>
          <a:p>
            <a:pPr algn="ctr"/>
            <a:r>
              <a:rPr kumimoji="0" lang="en-US" sz="1400" b="0" i="0" u="none" strike="noStrike" cap="none" spc="0" normalizeH="0" baseline="0" noProof="0" dirty="0">
                <a:ln>
                  <a:noFill/>
                </a:ln>
                <a:solidFill>
                  <a:schemeClr val="bg1"/>
                </a:solidFill>
                <a:effectLst/>
                <a:uLnTx/>
                <a:uFillTx/>
              </a:rPr>
              <a:t>In-depth Inquiry &amp; Innovation</a:t>
            </a:r>
            <a:endParaRPr lang="en-QA" sz="1400" dirty="0">
              <a:solidFill>
                <a:schemeClr val="bg1"/>
              </a:solidFill>
            </a:endParaRPr>
          </a:p>
        </p:txBody>
      </p:sp>
      <p:sp>
        <p:nvSpPr>
          <p:cNvPr id="12" name="TextBox 11">
            <a:extLst>
              <a:ext uri="{FF2B5EF4-FFF2-40B4-BE49-F238E27FC236}">
                <a16:creationId xmlns:a16="http://schemas.microsoft.com/office/drawing/2014/main" id="{BAA9EF3F-3C4F-AEA9-46D6-F0EA2C6C55C2}"/>
              </a:ext>
            </a:extLst>
          </p:cNvPr>
          <p:cNvSpPr txBox="1"/>
          <p:nvPr/>
        </p:nvSpPr>
        <p:spPr>
          <a:xfrm>
            <a:off x="3801051" y="5665604"/>
            <a:ext cx="1727948" cy="523220"/>
          </a:xfrm>
          <a:prstGeom prst="rect">
            <a:avLst/>
          </a:prstGeom>
          <a:noFill/>
        </p:spPr>
        <p:txBody>
          <a:bodyPr wrap="square">
            <a:spAutoFit/>
          </a:bodyPr>
          <a:lstStyle/>
          <a:p>
            <a:pPr algn="ctr"/>
            <a:r>
              <a:rPr lang="en-US" sz="1400" dirty="0">
                <a:solidFill>
                  <a:schemeClr val="bg1"/>
                </a:solidFill>
              </a:rPr>
              <a:t>Student Voice &amp; Choice</a:t>
            </a:r>
            <a:endParaRPr lang="en-QA" sz="1400" dirty="0">
              <a:solidFill>
                <a:schemeClr val="bg1"/>
              </a:solidFill>
            </a:endParaRPr>
          </a:p>
        </p:txBody>
      </p:sp>
      <p:sp>
        <p:nvSpPr>
          <p:cNvPr id="15" name="TextBox 14">
            <a:extLst>
              <a:ext uri="{FF2B5EF4-FFF2-40B4-BE49-F238E27FC236}">
                <a16:creationId xmlns:a16="http://schemas.microsoft.com/office/drawing/2014/main" id="{2D1B42CD-E759-499A-1BA2-DE00AAF79293}"/>
              </a:ext>
            </a:extLst>
          </p:cNvPr>
          <p:cNvSpPr txBox="1"/>
          <p:nvPr/>
        </p:nvSpPr>
        <p:spPr>
          <a:xfrm>
            <a:off x="5547265" y="5642653"/>
            <a:ext cx="1630868" cy="523220"/>
          </a:xfrm>
          <a:prstGeom prst="rect">
            <a:avLst/>
          </a:prstGeom>
          <a:noFill/>
        </p:spPr>
        <p:txBody>
          <a:bodyPr wrap="square">
            <a:spAutoFit/>
          </a:bodyPr>
          <a:lstStyle/>
          <a:p>
            <a:pPr algn="ctr"/>
            <a:r>
              <a:rPr kumimoji="0" lang="en-US" sz="1400" b="0" i="0" u="none" strike="noStrike" cap="none" spc="0" normalizeH="0" baseline="0" noProof="0" dirty="0">
                <a:ln>
                  <a:noFill/>
                </a:ln>
                <a:solidFill>
                  <a:schemeClr val="bg1"/>
                </a:solidFill>
                <a:effectLst/>
                <a:uLnTx/>
                <a:uFillTx/>
              </a:rPr>
              <a:t>Reflection &amp; Revision </a:t>
            </a:r>
            <a:endParaRPr lang="en-QA" sz="1400" dirty="0">
              <a:solidFill>
                <a:schemeClr val="bg1"/>
              </a:solidFill>
            </a:endParaRPr>
          </a:p>
        </p:txBody>
      </p:sp>
      <p:pic>
        <p:nvPicPr>
          <p:cNvPr id="17" name="Picture 16" descr="A picture containing graphical user interface&#10;&#10;Description automatically generated">
            <a:extLst>
              <a:ext uri="{FF2B5EF4-FFF2-40B4-BE49-F238E27FC236}">
                <a16:creationId xmlns:a16="http://schemas.microsoft.com/office/drawing/2014/main" id="{009BA7CD-8724-9821-E395-F2FBE2272663}"/>
              </a:ext>
            </a:extLst>
          </p:cNvPr>
          <p:cNvPicPr>
            <a:picLocks noChangeAspect="1"/>
          </p:cNvPicPr>
          <p:nvPr/>
        </p:nvPicPr>
        <p:blipFill>
          <a:blip r:embed="rId10">
            <a:clrChange>
              <a:clrFrom>
                <a:srgbClr val="CDEEFA"/>
              </a:clrFrom>
              <a:clrTo>
                <a:srgbClr val="CDEEFA">
                  <a:alpha val="0"/>
                </a:srgbClr>
              </a:clrTo>
            </a:clrChange>
            <a:extLst>
              <a:ext uri="{28A0092B-C50C-407E-A947-70E740481C1C}">
                <a14:useLocalDpi xmlns:a14="http://schemas.microsoft.com/office/drawing/2010/main"/>
              </a:ext>
            </a:extLst>
          </a:blip>
          <a:stretch>
            <a:fillRect/>
          </a:stretch>
        </p:blipFill>
        <p:spPr>
          <a:xfrm>
            <a:off x="4063754" y="1660827"/>
            <a:ext cx="1069313" cy="954156"/>
          </a:xfrm>
          <a:prstGeom prst="rect">
            <a:avLst/>
          </a:prstGeom>
        </p:spPr>
      </p:pic>
      <p:pic>
        <p:nvPicPr>
          <p:cNvPr id="21" name="Picture 20" descr="A picture containing text, clipart&#10;&#10;Description automatically generated">
            <a:extLst>
              <a:ext uri="{FF2B5EF4-FFF2-40B4-BE49-F238E27FC236}">
                <a16:creationId xmlns:a16="http://schemas.microsoft.com/office/drawing/2014/main" id="{61503C47-374F-6917-A4EB-59AB6971AC27}"/>
              </a:ext>
            </a:extLst>
          </p:cNvPr>
          <p:cNvPicPr>
            <a:picLocks noChangeAspect="1"/>
          </p:cNvPicPr>
          <p:nvPr/>
        </p:nvPicPr>
        <p:blipFill>
          <a:blip r:embed="rId11">
            <a:clrChange>
              <a:clrFrom>
                <a:srgbClr val="EE934A"/>
              </a:clrFrom>
              <a:clrTo>
                <a:srgbClr val="EE934A">
                  <a:alpha val="0"/>
                </a:srgbClr>
              </a:clrTo>
            </a:clrChange>
            <a:extLst>
              <a:ext uri="{28A0092B-C50C-407E-A947-70E740481C1C}">
                <a14:useLocalDpi xmlns:a14="http://schemas.microsoft.com/office/drawing/2010/main"/>
              </a:ext>
            </a:extLst>
          </a:blip>
          <a:stretch>
            <a:fillRect/>
          </a:stretch>
        </p:blipFill>
        <p:spPr>
          <a:xfrm>
            <a:off x="4177054" y="4763646"/>
            <a:ext cx="1054454" cy="940897"/>
          </a:xfrm>
          <a:prstGeom prst="rect">
            <a:avLst/>
          </a:prstGeom>
        </p:spPr>
      </p:pic>
      <p:pic>
        <p:nvPicPr>
          <p:cNvPr id="23" name="Picture 11">
            <a:extLst>
              <a:ext uri="{FF2B5EF4-FFF2-40B4-BE49-F238E27FC236}">
                <a16:creationId xmlns:a16="http://schemas.microsoft.com/office/drawing/2014/main" id="{9C77BE47-8AA5-9623-A888-391BF6981BDB}"/>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a:fillRect/>
          </a:stretch>
        </p:blipFill>
        <p:spPr>
          <a:xfrm>
            <a:off x="5072862" y="3258565"/>
            <a:ext cx="896261" cy="920422"/>
          </a:xfrm>
          <a:prstGeom prst="rect">
            <a:avLst/>
          </a:prstGeom>
        </p:spPr>
      </p:pic>
      <p:pic>
        <p:nvPicPr>
          <p:cNvPr id="25" name="Picture 9">
            <a:extLst>
              <a:ext uri="{FF2B5EF4-FFF2-40B4-BE49-F238E27FC236}">
                <a16:creationId xmlns:a16="http://schemas.microsoft.com/office/drawing/2014/main" id="{9C2283FE-C604-D0EE-E38C-7079BEF832E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a:fillRect/>
          </a:stretch>
        </p:blipFill>
        <p:spPr>
          <a:xfrm>
            <a:off x="6736016" y="3118753"/>
            <a:ext cx="811383" cy="1037816"/>
          </a:xfrm>
          <a:prstGeom prst="rect">
            <a:avLst/>
          </a:prstGeom>
        </p:spPr>
      </p:pic>
      <p:pic>
        <p:nvPicPr>
          <p:cNvPr id="26" name="Picture 19">
            <a:extLst>
              <a:ext uri="{FF2B5EF4-FFF2-40B4-BE49-F238E27FC236}">
                <a16:creationId xmlns:a16="http://schemas.microsoft.com/office/drawing/2014/main" id="{907135E2-E895-B0A1-429A-9EC341374CE0}"/>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a:fillRect/>
          </a:stretch>
        </p:blipFill>
        <p:spPr>
          <a:xfrm>
            <a:off x="5879414" y="4694983"/>
            <a:ext cx="879154" cy="953012"/>
          </a:xfrm>
          <a:prstGeom prst="rect">
            <a:avLst/>
          </a:prstGeom>
        </p:spPr>
      </p:pic>
      <p:sp>
        <p:nvSpPr>
          <p:cNvPr id="27" name="Title 1">
            <a:extLst>
              <a:ext uri="{FF2B5EF4-FFF2-40B4-BE49-F238E27FC236}">
                <a16:creationId xmlns:a16="http://schemas.microsoft.com/office/drawing/2014/main" id="{7F5F7E5F-2707-C725-47D9-15881FB3E12C}"/>
              </a:ext>
            </a:extLst>
          </p:cNvPr>
          <p:cNvSpPr txBox="1">
            <a:spLocks/>
          </p:cNvSpPr>
          <p:nvPr/>
        </p:nvSpPr>
        <p:spPr>
          <a:xfrm>
            <a:off x="3625383" y="679944"/>
            <a:ext cx="4115234" cy="731158"/>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200" b="1" dirty="0">
                <a:solidFill>
                  <a:schemeClr val="accent4">
                    <a:lumMod val="50000"/>
                  </a:schemeClr>
                </a:solidFill>
                <a:latin typeface="Calibri" panose="020F0502020204030204" pitchFamily="34" charset="0"/>
                <a:cs typeface="Calibri" panose="020F0502020204030204" pitchFamily="34" charset="0"/>
              </a:rPr>
              <a:t>Project-based learning (PBL) is an educational method designed to give students the opportunity to develop and apply knowledge and skills through engaging projects that are set around challenges and problems they may face in the real world.</a:t>
            </a:r>
          </a:p>
        </p:txBody>
      </p:sp>
      <p:pic>
        <p:nvPicPr>
          <p:cNvPr id="28" name="Picture 6">
            <a:extLst>
              <a:ext uri="{FF2B5EF4-FFF2-40B4-BE49-F238E27FC236}">
                <a16:creationId xmlns:a16="http://schemas.microsoft.com/office/drawing/2014/main" id="{B069E35B-CBFE-1ED8-1E38-D331DDF21EF9}"/>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a:fillRect/>
          </a:stretch>
        </p:blipFill>
        <p:spPr>
          <a:xfrm>
            <a:off x="5932849" y="1753612"/>
            <a:ext cx="822025" cy="822025"/>
          </a:xfrm>
          <a:prstGeom prst="rect">
            <a:avLst/>
          </a:prstGeom>
        </p:spPr>
      </p:pic>
      <p:grpSp>
        <p:nvGrpSpPr>
          <p:cNvPr id="3" name="Group 8">
            <a:extLst>
              <a:ext uri="{FF2B5EF4-FFF2-40B4-BE49-F238E27FC236}">
                <a16:creationId xmlns:a16="http://schemas.microsoft.com/office/drawing/2014/main" id="{B8FB8996-0B96-30B6-6DF0-8E1419E18A96}"/>
              </a:ext>
            </a:extLst>
          </p:cNvPr>
          <p:cNvGrpSpPr>
            <a:grpSpLocks noChangeAspect="1"/>
          </p:cNvGrpSpPr>
          <p:nvPr/>
        </p:nvGrpSpPr>
        <p:grpSpPr>
          <a:xfrm>
            <a:off x="143970" y="4234836"/>
            <a:ext cx="3620946" cy="2507840"/>
            <a:chOff x="0" y="0"/>
            <a:chExt cx="3429000" cy="2374900"/>
          </a:xfrm>
        </p:grpSpPr>
        <p:sp>
          <p:nvSpPr>
            <p:cNvPr id="8" name="Freeform 9">
              <a:extLst>
                <a:ext uri="{FF2B5EF4-FFF2-40B4-BE49-F238E27FC236}">
                  <a16:creationId xmlns:a16="http://schemas.microsoft.com/office/drawing/2014/main" id="{F2C9AC2D-67D7-970A-7F56-A70CB39FEE74}"/>
                </a:ext>
              </a:extLst>
            </p:cNvPr>
            <p:cNvSpPr/>
            <p:nvPr/>
          </p:nvSpPr>
          <p:spPr>
            <a:xfrm>
              <a:off x="50800" y="76200"/>
              <a:ext cx="3340100" cy="2235200"/>
            </a:xfrm>
            <a:custGeom>
              <a:avLst/>
              <a:gdLst/>
              <a:ahLst/>
              <a:cxnLst/>
              <a:rect l="l" t="t" r="r" b="b"/>
              <a:pathLst>
                <a:path w="3340100" h="2235200">
                  <a:moveTo>
                    <a:pt x="2171700" y="25400"/>
                  </a:moveTo>
                  <a:lnTo>
                    <a:pt x="2400300" y="0"/>
                  </a:lnTo>
                  <a:lnTo>
                    <a:pt x="2641600" y="38100"/>
                  </a:lnTo>
                  <a:lnTo>
                    <a:pt x="2984500" y="38100"/>
                  </a:lnTo>
                  <a:cubicBezTo>
                    <a:pt x="2984500" y="38100"/>
                    <a:pt x="3086100" y="12700"/>
                    <a:pt x="3098800" y="38100"/>
                  </a:cubicBezTo>
                  <a:cubicBezTo>
                    <a:pt x="3111500" y="63500"/>
                    <a:pt x="3162300" y="228600"/>
                    <a:pt x="3162300" y="228600"/>
                  </a:cubicBezTo>
                  <a:cubicBezTo>
                    <a:pt x="3162300" y="228600"/>
                    <a:pt x="3213100" y="304800"/>
                    <a:pt x="3200400" y="355600"/>
                  </a:cubicBezTo>
                  <a:cubicBezTo>
                    <a:pt x="3187700" y="406400"/>
                    <a:pt x="3225800" y="520700"/>
                    <a:pt x="3225800" y="520700"/>
                  </a:cubicBezTo>
                  <a:cubicBezTo>
                    <a:pt x="3225800" y="520700"/>
                    <a:pt x="3251200" y="571500"/>
                    <a:pt x="3225800" y="622300"/>
                  </a:cubicBezTo>
                  <a:cubicBezTo>
                    <a:pt x="3225800" y="622300"/>
                    <a:pt x="3213100" y="762000"/>
                    <a:pt x="3238500" y="812800"/>
                  </a:cubicBezTo>
                  <a:cubicBezTo>
                    <a:pt x="3238500" y="812800"/>
                    <a:pt x="3276600" y="838200"/>
                    <a:pt x="3251200" y="1003300"/>
                  </a:cubicBezTo>
                  <a:lnTo>
                    <a:pt x="3263900" y="1181100"/>
                  </a:lnTo>
                  <a:cubicBezTo>
                    <a:pt x="3263900" y="1181100"/>
                    <a:pt x="3238500" y="1257300"/>
                    <a:pt x="3251200" y="1308100"/>
                  </a:cubicBezTo>
                  <a:lnTo>
                    <a:pt x="3276600" y="1562100"/>
                  </a:lnTo>
                  <a:lnTo>
                    <a:pt x="3327400" y="1701800"/>
                  </a:lnTo>
                  <a:lnTo>
                    <a:pt x="3327400" y="1854200"/>
                  </a:lnTo>
                  <a:lnTo>
                    <a:pt x="3340100" y="1955800"/>
                  </a:lnTo>
                  <a:cubicBezTo>
                    <a:pt x="3340100" y="1955800"/>
                    <a:pt x="3314700" y="2019300"/>
                    <a:pt x="3213100" y="2044700"/>
                  </a:cubicBezTo>
                  <a:cubicBezTo>
                    <a:pt x="3213100" y="2044700"/>
                    <a:pt x="3149600" y="2044700"/>
                    <a:pt x="3098800" y="2082800"/>
                  </a:cubicBezTo>
                  <a:cubicBezTo>
                    <a:pt x="3048000" y="2120900"/>
                    <a:pt x="2933700" y="2197100"/>
                    <a:pt x="2870200" y="2184400"/>
                  </a:cubicBezTo>
                  <a:cubicBezTo>
                    <a:pt x="2870200" y="2184400"/>
                    <a:pt x="2717800" y="2171700"/>
                    <a:pt x="2692400" y="2146300"/>
                  </a:cubicBezTo>
                  <a:cubicBezTo>
                    <a:pt x="2692400" y="2146300"/>
                    <a:pt x="2590800" y="2133600"/>
                    <a:pt x="2565400" y="2133600"/>
                  </a:cubicBezTo>
                  <a:cubicBezTo>
                    <a:pt x="2540000" y="2133600"/>
                    <a:pt x="2476500" y="2146300"/>
                    <a:pt x="2476500" y="2146300"/>
                  </a:cubicBezTo>
                  <a:cubicBezTo>
                    <a:pt x="2476500" y="2146300"/>
                    <a:pt x="2400300" y="2171700"/>
                    <a:pt x="2362200" y="2159000"/>
                  </a:cubicBezTo>
                  <a:cubicBezTo>
                    <a:pt x="2324100" y="2146300"/>
                    <a:pt x="2298700" y="2146300"/>
                    <a:pt x="2222500" y="2159000"/>
                  </a:cubicBezTo>
                  <a:cubicBezTo>
                    <a:pt x="2222500" y="2159000"/>
                    <a:pt x="2197100" y="2184400"/>
                    <a:pt x="2019300" y="2184400"/>
                  </a:cubicBezTo>
                  <a:cubicBezTo>
                    <a:pt x="2019300" y="2184400"/>
                    <a:pt x="1866900" y="2235200"/>
                    <a:pt x="1790700" y="2184400"/>
                  </a:cubicBezTo>
                  <a:cubicBezTo>
                    <a:pt x="1790700" y="2184400"/>
                    <a:pt x="1765300" y="2146300"/>
                    <a:pt x="1549400" y="2159000"/>
                  </a:cubicBezTo>
                  <a:cubicBezTo>
                    <a:pt x="1549400" y="2159000"/>
                    <a:pt x="1397000" y="2171700"/>
                    <a:pt x="1371600" y="2159000"/>
                  </a:cubicBezTo>
                  <a:lnTo>
                    <a:pt x="1066800" y="2197100"/>
                  </a:lnTo>
                  <a:cubicBezTo>
                    <a:pt x="1066800" y="2197100"/>
                    <a:pt x="723900" y="2184400"/>
                    <a:pt x="673100" y="2171700"/>
                  </a:cubicBezTo>
                  <a:cubicBezTo>
                    <a:pt x="622300" y="2159000"/>
                    <a:pt x="419100" y="2120900"/>
                    <a:pt x="393700" y="2146300"/>
                  </a:cubicBezTo>
                  <a:cubicBezTo>
                    <a:pt x="368300" y="2171700"/>
                    <a:pt x="215900" y="2171700"/>
                    <a:pt x="190500" y="2159000"/>
                  </a:cubicBezTo>
                  <a:cubicBezTo>
                    <a:pt x="165100" y="2146300"/>
                    <a:pt x="127000" y="2044700"/>
                    <a:pt x="114300" y="1993900"/>
                  </a:cubicBezTo>
                  <a:cubicBezTo>
                    <a:pt x="101600" y="1943100"/>
                    <a:pt x="101600" y="1803400"/>
                    <a:pt x="101600" y="1778000"/>
                  </a:cubicBezTo>
                  <a:cubicBezTo>
                    <a:pt x="101600" y="1752600"/>
                    <a:pt x="63500" y="1714500"/>
                    <a:pt x="63500" y="1714500"/>
                  </a:cubicBezTo>
                  <a:lnTo>
                    <a:pt x="88900" y="1562100"/>
                  </a:lnTo>
                  <a:cubicBezTo>
                    <a:pt x="88900" y="1562100"/>
                    <a:pt x="88900" y="1435100"/>
                    <a:pt x="63500" y="1397000"/>
                  </a:cubicBezTo>
                  <a:cubicBezTo>
                    <a:pt x="38100" y="1358900"/>
                    <a:pt x="63500" y="1206500"/>
                    <a:pt x="63500" y="1206500"/>
                  </a:cubicBezTo>
                  <a:cubicBezTo>
                    <a:pt x="63500" y="1206500"/>
                    <a:pt x="38100" y="1079500"/>
                    <a:pt x="50800" y="1041400"/>
                  </a:cubicBezTo>
                  <a:cubicBezTo>
                    <a:pt x="63500" y="1003300"/>
                    <a:pt x="76200" y="939800"/>
                    <a:pt x="76200" y="901700"/>
                  </a:cubicBezTo>
                  <a:cubicBezTo>
                    <a:pt x="76200" y="863600"/>
                    <a:pt x="50800" y="673100"/>
                    <a:pt x="50800" y="673100"/>
                  </a:cubicBezTo>
                  <a:lnTo>
                    <a:pt x="25400" y="571500"/>
                  </a:lnTo>
                  <a:cubicBezTo>
                    <a:pt x="25400" y="571500"/>
                    <a:pt x="0" y="508000"/>
                    <a:pt x="12700" y="393700"/>
                  </a:cubicBezTo>
                  <a:cubicBezTo>
                    <a:pt x="25400" y="279400"/>
                    <a:pt x="12700" y="279400"/>
                    <a:pt x="12700" y="279400"/>
                  </a:cubicBezTo>
                  <a:lnTo>
                    <a:pt x="215900" y="190500"/>
                  </a:lnTo>
                  <a:cubicBezTo>
                    <a:pt x="215900" y="190500"/>
                    <a:pt x="317500" y="76200"/>
                    <a:pt x="482600" y="76200"/>
                  </a:cubicBezTo>
                  <a:lnTo>
                    <a:pt x="609600" y="114300"/>
                  </a:lnTo>
                  <a:cubicBezTo>
                    <a:pt x="609600" y="114300"/>
                    <a:pt x="660400" y="139700"/>
                    <a:pt x="749300" y="127000"/>
                  </a:cubicBezTo>
                  <a:cubicBezTo>
                    <a:pt x="838200" y="114300"/>
                    <a:pt x="914400" y="88900"/>
                    <a:pt x="914400" y="88900"/>
                  </a:cubicBezTo>
                  <a:cubicBezTo>
                    <a:pt x="914400" y="88900"/>
                    <a:pt x="1003300" y="114300"/>
                    <a:pt x="1066800" y="88900"/>
                  </a:cubicBezTo>
                  <a:lnTo>
                    <a:pt x="1117600" y="76200"/>
                  </a:lnTo>
                  <a:lnTo>
                    <a:pt x="1143000" y="76200"/>
                  </a:lnTo>
                  <a:cubicBezTo>
                    <a:pt x="1143000" y="76200"/>
                    <a:pt x="1181100" y="50800"/>
                    <a:pt x="1206500" y="76200"/>
                  </a:cubicBezTo>
                  <a:cubicBezTo>
                    <a:pt x="1206500" y="76200"/>
                    <a:pt x="1231900" y="50800"/>
                    <a:pt x="1270000" y="63500"/>
                  </a:cubicBezTo>
                  <a:cubicBezTo>
                    <a:pt x="1270000" y="63500"/>
                    <a:pt x="1346200" y="38100"/>
                    <a:pt x="1346200" y="38100"/>
                  </a:cubicBezTo>
                  <a:cubicBezTo>
                    <a:pt x="1346200" y="38100"/>
                    <a:pt x="1435100" y="38100"/>
                    <a:pt x="1435100" y="38100"/>
                  </a:cubicBezTo>
                  <a:lnTo>
                    <a:pt x="1524000" y="63500"/>
                  </a:lnTo>
                  <a:lnTo>
                    <a:pt x="1765300" y="63500"/>
                  </a:lnTo>
                  <a:lnTo>
                    <a:pt x="1892300" y="50800"/>
                  </a:lnTo>
                  <a:lnTo>
                    <a:pt x="1943100" y="76200"/>
                  </a:lnTo>
                  <a:lnTo>
                    <a:pt x="2019300" y="50800"/>
                  </a:lnTo>
                  <a:lnTo>
                    <a:pt x="2171700" y="25400"/>
                  </a:lnTo>
                  <a:close/>
                </a:path>
              </a:pathLst>
            </a:custGeom>
            <a:blipFill>
              <a:blip r:embed="rId20"/>
              <a:stretch>
                <a:fillRect t="-13046" b="-13046"/>
              </a:stretch>
            </a:blipFill>
          </p:spPr>
        </p:sp>
        <p:sp>
          <p:nvSpPr>
            <p:cNvPr id="10" name="Freeform 10">
              <a:extLst>
                <a:ext uri="{FF2B5EF4-FFF2-40B4-BE49-F238E27FC236}">
                  <a16:creationId xmlns:a16="http://schemas.microsoft.com/office/drawing/2014/main" id="{45CA48C2-301B-21E3-B6E1-EA69B89B90C9}"/>
                </a:ext>
              </a:extLst>
            </p:cNvPr>
            <p:cNvSpPr/>
            <p:nvPr/>
          </p:nvSpPr>
          <p:spPr>
            <a:xfrm>
              <a:off x="0" y="0"/>
              <a:ext cx="3429000" cy="2374900"/>
            </a:xfrm>
            <a:custGeom>
              <a:avLst/>
              <a:gdLst/>
              <a:ahLst/>
              <a:cxnLst/>
              <a:rect l="l" t="t" r="r" b="b"/>
              <a:pathLst>
                <a:path w="3429000" h="2374900">
                  <a:moveTo>
                    <a:pt x="3429000" y="2374900"/>
                  </a:moveTo>
                  <a:lnTo>
                    <a:pt x="0" y="2374900"/>
                  </a:lnTo>
                  <a:lnTo>
                    <a:pt x="0" y="0"/>
                  </a:lnTo>
                  <a:lnTo>
                    <a:pt x="3429000" y="0"/>
                  </a:lnTo>
                  <a:lnTo>
                    <a:pt x="3429000" y="2374900"/>
                  </a:lnTo>
                  <a:close/>
                </a:path>
              </a:pathLst>
            </a:custGeom>
            <a:blipFill>
              <a:blip r:embed="rId21"/>
              <a:stretch>
                <a:fillRect l="-2902" t="-10996" r="-2492" b="-11124"/>
              </a:stretch>
            </a:blipFill>
          </p:spPr>
          <p:txBody>
            <a:bodyPr/>
            <a:lstStyle/>
            <a:p>
              <a:endParaRPr lang="en-QA" dirty="0"/>
            </a:p>
          </p:txBody>
        </p:sp>
      </p:grpSp>
      <p:pic>
        <p:nvPicPr>
          <p:cNvPr id="16" name="Picture 15">
            <a:extLst>
              <a:ext uri="{FF2B5EF4-FFF2-40B4-BE49-F238E27FC236}">
                <a16:creationId xmlns:a16="http://schemas.microsoft.com/office/drawing/2014/main" id="{E0D1C2E1-6531-6312-B500-138CC4200B4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34697" y="910614"/>
            <a:ext cx="3307159" cy="2481683"/>
          </a:xfrm>
          <a:prstGeom prst="rect">
            <a:avLst/>
          </a:prstGeom>
          <a:ln>
            <a:noFill/>
          </a:ln>
          <a:effectLst>
            <a:outerShdw blurRad="292100" dist="139700" dir="2700000" algn="tl" rotWithShape="0">
              <a:srgbClr val="333333">
                <a:alpha val="65000"/>
              </a:srgbClr>
            </a:outerShdw>
          </a:effectLst>
        </p:spPr>
      </p:pic>
      <p:grpSp>
        <p:nvGrpSpPr>
          <p:cNvPr id="19" name="Group 9">
            <a:extLst>
              <a:ext uri="{FF2B5EF4-FFF2-40B4-BE49-F238E27FC236}">
                <a16:creationId xmlns:a16="http://schemas.microsoft.com/office/drawing/2014/main" id="{F4C902EF-3683-7C20-C6DA-9CA777A07403}"/>
              </a:ext>
            </a:extLst>
          </p:cNvPr>
          <p:cNvGrpSpPr>
            <a:grpSpLocks noChangeAspect="1"/>
          </p:cNvGrpSpPr>
          <p:nvPr/>
        </p:nvGrpSpPr>
        <p:grpSpPr>
          <a:xfrm>
            <a:off x="1477917" y="6830219"/>
            <a:ext cx="2877376" cy="4121134"/>
            <a:chOff x="0" y="0"/>
            <a:chExt cx="4433570" cy="6350000"/>
          </a:xfrm>
        </p:grpSpPr>
        <p:sp>
          <p:nvSpPr>
            <p:cNvPr id="20" name="Freeform 10">
              <a:extLst>
                <a:ext uri="{FF2B5EF4-FFF2-40B4-BE49-F238E27FC236}">
                  <a16:creationId xmlns:a16="http://schemas.microsoft.com/office/drawing/2014/main" id="{42F5A347-BDCA-DC16-4F28-0036819E1317}"/>
                </a:ext>
              </a:extLst>
            </p:cNvPr>
            <p:cNvSpPr/>
            <p:nvPr/>
          </p:nvSpPr>
          <p:spPr>
            <a:xfrm>
              <a:off x="0" y="0"/>
              <a:ext cx="4433570" cy="6350000"/>
            </a:xfrm>
            <a:custGeom>
              <a:avLst/>
              <a:gdLst/>
              <a:ahLst/>
              <a:cxnLst/>
              <a:rect l="l" t="t" r="r" b="b"/>
              <a:pathLst>
                <a:path w="4433570" h="6350000">
                  <a:moveTo>
                    <a:pt x="4433570" y="0"/>
                  </a:moveTo>
                  <a:lnTo>
                    <a:pt x="4433570" y="0"/>
                  </a:lnTo>
                  <a:lnTo>
                    <a:pt x="4433570" y="0"/>
                  </a:lnTo>
                  <a:lnTo>
                    <a:pt x="4433570" y="6350000"/>
                  </a:lnTo>
                  <a:lnTo>
                    <a:pt x="4433570" y="6350000"/>
                  </a:lnTo>
                  <a:lnTo>
                    <a:pt x="0" y="6350000"/>
                  </a:lnTo>
                  <a:lnTo>
                    <a:pt x="0" y="6350000"/>
                  </a:lnTo>
                  <a:lnTo>
                    <a:pt x="0" y="4433570"/>
                  </a:lnTo>
                  <a:cubicBezTo>
                    <a:pt x="0" y="1985010"/>
                    <a:pt x="1985010" y="0"/>
                    <a:pt x="4433570" y="0"/>
                  </a:cubicBezTo>
                  <a:close/>
                </a:path>
              </a:pathLst>
            </a:custGeom>
            <a:blipFill>
              <a:blip r:embed="rId23"/>
              <a:stretch>
                <a:fillRect l="-25979" r="-25979"/>
              </a:stretch>
            </a:blipFill>
          </p:spPr>
        </p:sp>
      </p:grpSp>
    </p:spTree>
    <p:extLst>
      <p:ext uri="{BB962C8B-B14F-4D97-AF65-F5344CB8AC3E}">
        <p14:creationId xmlns:p14="http://schemas.microsoft.com/office/powerpoint/2010/main" val="1721440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nodePh="1">
                                  <p:stCondLst>
                                    <p:cond delay="0"/>
                                  </p:stCondLst>
                                  <p:endCondLst>
                                    <p:cond evt="begin" delay="0">
                                      <p:tn val="5"/>
                                    </p:cond>
                                  </p:end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500"/>
                                        <p:tgtEl>
                                          <p:spTgt spid="5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7" name="Rectangle 26">
            <a:extLst>
              <a:ext uri="{FF2B5EF4-FFF2-40B4-BE49-F238E27FC236}">
                <a16:creationId xmlns:a16="http://schemas.microsoft.com/office/drawing/2014/main" id="{B3684CCF-CEBB-4D8E-A366-95E43D4C7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918BE5-018D-4276-B0B6-7F3DA25F3B6D}"/>
              </a:ext>
            </a:extLst>
          </p:cNvPr>
          <p:cNvSpPr>
            <a:spLocks noGrp="1"/>
          </p:cNvSpPr>
          <p:nvPr>
            <p:ph type="title"/>
          </p:nvPr>
        </p:nvSpPr>
        <p:spPr>
          <a:xfrm>
            <a:off x="296602" y="205419"/>
            <a:ext cx="4947203" cy="1124851"/>
          </a:xfrm>
          <a:noFill/>
        </p:spPr>
        <p:txBody>
          <a:bodyPr vert="horz" lIns="91440" tIns="45720" rIns="91440" bIns="45720" rtlCol="0" anchor="ctr">
            <a:normAutofit/>
          </a:bodyPr>
          <a:lstStyle/>
          <a:p>
            <a:r>
              <a:rPr lang="en-US" sz="4000" b="1" i="1" kern="1200" dirty="0">
                <a:solidFill>
                  <a:schemeClr val="accent1"/>
                </a:solidFill>
                <a:latin typeface="Calibri" panose="020F0502020204030204" pitchFamily="34" charset="0"/>
                <a:cs typeface="Calibri" panose="020F0502020204030204" pitchFamily="34" charset="0"/>
                <a:sym typeface="Lustria"/>
              </a:rPr>
              <a:t>Why PBL?</a:t>
            </a:r>
            <a:endParaRPr lang="en-US" sz="4000" b="1" i="1" kern="1200" dirty="0">
              <a:solidFill>
                <a:schemeClr val="accent1"/>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270F0E40-FCCF-775B-8207-C1F2F1F36003}"/>
              </a:ext>
            </a:extLst>
          </p:cNvPr>
          <p:cNvPicPr>
            <a:picLocks/>
          </p:cNvPicPr>
          <p:nvPr/>
        </p:nvPicPr>
        <p:blipFill rotWithShape="1">
          <a:blip r:embed="rId3" cstate="print">
            <a:extLst>
              <a:ext uri="{28A0092B-C50C-407E-A947-70E740481C1C}">
                <a14:useLocalDpi xmlns:a14="http://schemas.microsoft.com/office/drawing/2010/main"/>
              </a:ext>
            </a:extLst>
          </a:blip>
          <a:srcRect b="-2"/>
          <a:stretch/>
        </p:blipFill>
        <p:spPr>
          <a:xfrm>
            <a:off x="6863996" y="3154859"/>
            <a:ext cx="4030579" cy="3703141"/>
          </a:xfrm>
          <a:custGeom>
            <a:avLst/>
            <a:gdLst/>
            <a:ahLst/>
            <a:cxnLst/>
            <a:rect l="l" t="t" r="r" b="b"/>
            <a:pathLst>
              <a:path w="4030579" h="3703141">
                <a:moveTo>
                  <a:pt x="2015289" y="0"/>
                </a:moveTo>
                <a:cubicBezTo>
                  <a:pt x="3128303" y="0"/>
                  <a:pt x="4030579" y="902277"/>
                  <a:pt x="4030579" y="2015290"/>
                </a:cubicBezTo>
                <a:cubicBezTo>
                  <a:pt x="4030579" y="2710923"/>
                  <a:pt x="3678127" y="3324237"/>
                  <a:pt x="3142057" y="3686399"/>
                </a:cubicBezTo>
                <a:lnTo>
                  <a:pt x="3114499" y="3703141"/>
                </a:lnTo>
                <a:lnTo>
                  <a:pt x="916080" y="3703141"/>
                </a:lnTo>
                <a:lnTo>
                  <a:pt x="888522" y="3686399"/>
                </a:lnTo>
                <a:cubicBezTo>
                  <a:pt x="352452" y="3324237"/>
                  <a:pt x="0" y="2710923"/>
                  <a:pt x="0" y="2015290"/>
                </a:cubicBezTo>
                <a:cubicBezTo>
                  <a:pt x="0" y="902277"/>
                  <a:pt x="902277" y="0"/>
                  <a:pt x="2015289" y="0"/>
                </a:cubicBezTo>
                <a:close/>
              </a:path>
            </a:pathLst>
          </a:custGeom>
        </p:spPr>
      </p:pic>
      <p:sp>
        <p:nvSpPr>
          <p:cNvPr id="38" name="Arc 28">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4759070" flipV="1">
            <a:off x="6010869" y="-729072"/>
            <a:ext cx="4083433" cy="4083433"/>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8" name="Picture 7">
            <a:extLst>
              <a:ext uri="{FF2B5EF4-FFF2-40B4-BE49-F238E27FC236}">
                <a16:creationId xmlns:a16="http://schemas.microsoft.com/office/drawing/2014/main" id="{56B62F50-E8B4-1544-4340-C65DEE4ECFDA}"/>
              </a:ext>
            </a:extLst>
          </p:cNvPr>
          <p:cNvPicPr>
            <a:picLocks/>
          </p:cNvPicPr>
          <p:nvPr/>
        </p:nvPicPr>
        <p:blipFill rotWithShape="1">
          <a:blip r:embed="rId4" cstate="print">
            <a:extLst>
              <a:ext uri="{28A0092B-C50C-407E-A947-70E740481C1C}">
                <a14:useLocalDpi xmlns:a14="http://schemas.microsoft.com/office/drawing/2010/main"/>
              </a:ext>
            </a:extLst>
          </a:blip>
          <a:srcRect b="-4"/>
          <a:stretch/>
        </p:blipFill>
        <p:spPr>
          <a:xfrm>
            <a:off x="6305807" y="1"/>
            <a:ext cx="3519312" cy="300790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pic>
        <p:nvPicPr>
          <p:cNvPr id="6" name="E1AC3271-5474-4716-9EB7-F69B30449264" descr="E1AC3271-5474-4716-9EB7-F69B30449264">
            <a:extLst>
              <a:ext uri="{FF2B5EF4-FFF2-40B4-BE49-F238E27FC236}">
                <a16:creationId xmlns:a16="http://schemas.microsoft.com/office/drawing/2014/main" id="{793E25FD-1739-C1D1-B902-01D0558B6B77}"/>
              </a:ext>
            </a:extLst>
          </p:cNvPr>
          <p:cNvPicPr>
            <a:picLocks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9933462" y="372217"/>
            <a:ext cx="2258539" cy="3554668"/>
          </a:xfrm>
          <a:custGeom>
            <a:avLst/>
            <a:gdLst/>
            <a:ahLst/>
            <a:cxnLst/>
            <a:rect l="l" t="t" r="r" b="b"/>
            <a:pathLst>
              <a:path w="2258539" h="3554668">
                <a:moveTo>
                  <a:pt x="1777334" y="0"/>
                </a:moveTo>
                <a:cubicBezTo>
                  <a:pt x="1900033" y="0"/>
                  <a:pt x="2019829" y="12434"/>
                  <a:pt x="2135529" y="36109"/>
                </a:cubicBezTo>
                <a:lnTo>
                  <a:pt x="2258539" y="67738"/>
                </a:lnTo>
                <a:lnTo>
                  <a:pt x="2258539" y="3486930"/>
                </a:lnTo>
                <a:lnTo>
                  <a:pt x="2135529" y="3518559"/>
                </a:lnTo>
                <a:cubicBezTo>
                  <a:pt x="2019829" y="3542235"/>
                  <a:pt x="1900033" y="3554668"/>
                  <a:pt x="1777334" y="3554668"/>
                </a:cubicBezTo>
                <a:cubicBezTo>
                  <a:pt x="795739" y="3554668"/>
                  <a:pt x="0" y="2758929"/>
                  <a:pt x="0" y="1777334"/>
                </a:cubicBezTo>
                <a:cubicBezTo>
                  <a:pt x="0" y="795740"/>
                  <a:pt x="795739" y="0"/>
                  <a:pt x="1777334" y="0"/>
                </a:cubicBezTo>
                <a:close/>
              </a:path>
            </a:pathLst>
          </a:cu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E44681F0-F62F-2D21-B29E-027A48A50269}"/>
              </a:ext>
            </a:extLst>
          </p:cNvPr>
          <p:cNvSpPr txBox="1">
            <a:spLocks/>
          </p:cNvSpPr>
          <p:nvPr/>
        </p:nvSpPr>
        <p:spPr>
          <a:xfrm>
            <a:off x="8181885" y="2474384"/>
            <a:ext cx="1434206" cy="369333"/>
          </a:xfrm>
          <a:custGeom>
            <a:avLst/>
            <a:gdLst>
              <a:gd name="csX0" fmla="*/ 0 w 1434206"/>
              <a:gd name="csY0" fmla="*/ 0 h 369333"/>
              <a:gd name="csX1" fmla="*/ 506753 w 1434206"/>
              <a:gd name="csY1" fmla="*/ 0 h 369333"/>
              <a:gd name="csX2" fmla="*/ 999164 w 1434206"/>
              <a:gd name="csY2" fmla="*/ 0 h 369333"/>
              <a:gd name="csX3" fmla="*/ 1434206 w 1434206"/>
              <a:gd name="csY3" fmla="*/ 0 h 369333"/>
              <a:gd name="csX4" fmla="*/ 1434206 w 1434206"/>
              <a:gd name="csY4" fmla="*/ 369333 h 369333"/>
              <a:gd name="csX5" fmla="*/ 984821 w 1434206"/>
              <a:gd name="csY5" fmla="*/ 369333 h 369333"/>
              <a:gd name="csX6" fmla="*/ 506753 w 1434206"/>
              <a:gd name="csY6" fmla="*/ 369333 h 369333"/>
              <a:gd name="csX7" fmla="*/ 0 w 1434206"/>
              <a:gd name="csY7" fmla="*/ 369333 h 369333"/>
              <a:gd name="csX8" fmla="*/ 0 w 1434206"/>
              <a:gd name="csY8" fmla="*/ 0 h 3693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434206" h="369333" fill="none" extrusionOk="0">
                <a:moveTo>
                  <a:pt x="0" y="0"/>
                </a:moveTo>
                <a:cubicBezTo>
                  <a:pt x="126705" y="-6053"/>
                  <a:pt x="319633" y="59396"/>
                  <a:pt x="506753" y="0"/>
                </a:cubicBezTo>
                <a:cubicBezTo>
                  <a:pt x="693873" y="-59396"/>
                  <a:pt x="819232" y="55477"/>
                  <a:pt x="999164" y="0"/>
                </a:cubicBezTo>
                <a:cubicBezTo>
                  <a:pt x="1179096" y="-55477"/>
                  <a:pt x="1233517" y="51519"/>
                  <a:pt x="1434206" y="0"/>
                </a:cubicBezTo>
                <a:cubicBezTo>
                  <a:pt x="1444966" y="154934"/>
                  <a:pt x="1399482" y="194664"/>
                  <a:pt x="1434206" y="369333"/>
                </a:cubicBezTo>
                <a:cubicBezTo>
                  <a:pt x="1217925" y="408535"/>
                  <a:pt x="1076067" y="368744"/>
                  <a:pt x="984821" y="369333"/>
                </a:cubicBezTo>
                <a:cubicBezTo>
                  <a:pt x="893576" y="369922"/>
                  <a:pt x="708154" y="313310"/>
                  <a:pt x="506753" y="369333"/>
                </a:cubicBezTo>
                <a:cubicBezTo>
                  <a:pt x="305352" y="425356"/>
                  <a:pt x="125618" y="332396"/>
                  <a:pt x="0" y="369333"/>
                </a:cubicBezTo>
                <a:cubicBezTo>
                  <a:pt x="-37112" y="288010"/>
                  <a:pt x="26816" y="162340"/>
                  <a:pt x="0" y="0"/>
                </a:cubicBezTo>
                <a:close/>
              </a:path>
              <a:path w="1434206" h="369333" stroke="0" extrusionOk="0">
                <a:moveTo>
                  <a:pt x="0" y="0"/>
                </a:moveTo>
                <a:cubicBezTo>
                  <a:pt x="221302" y="-11863"/>
                  <a:pt x="344504" y="35177"/>
                  <a:pt x="463727" y="0"/>
                </a:cubicBezTo>
                <a:cubicBezTo>
                  <a:pt x="582950" y="-35177"/>
                  <a:pt x="698751" y="19292"/>
                  <a:pt x="898769" y="0"/>
                </a:cubicBezTo>
                <a:cubicBezTo>
                  <a:pt x="1098787" y="-19292"/>
                  <a:pt x="1218607" y="54249"/>
                  <a:pt x="1434206" y="0"/>
                </a:cubicBezTo>
                <a:cubicBezTo>
                  <a:pt x="1469823" y="109606"/>
                  <a:pt x="1410164" y="191351"/>
                  <a:pt x="1434206" y="369333"/>
                </a:cubicBezTo>
                <a:cubicBezTo>
                  <a:pt x="1321273" y="382220"/>
                  <a:pt x="1194620" y="331481"/>
                  <a:pt x="984821" y="369333"/>
                </a:cubicBezTo>
                <a:cubicBezTo>
                  <a:pt x="775022" y="407185"/>
                  <a:pt x="664736" y="343252"/>
                  <a:pt x="478069" y="369333"/>
                </a:cubicBezTo>
                <a:cubicBezTo>
                  <a:pt x="291402" y="395414"/>
                  <a:pt x="107024" y="340614"/>
                  <a:pt x="0" y="369333"/>
                </a:cubicBezTo>
                <a:cubicBezTo>
                  <a:pt x="-25795" y="227940"/>
                  <a:pt x="18006" y="165127"/>
                  <a:pt x="0" y="0"/>
                </a:cubicBezTo>
                <a:close/>
              </a:path>
            </a:pathLst>
          </a:custGeom>
          <a:solidFill>
            <a:schemeClr val="accent4"/>
          </a:solidFill>
          <a:ln>
            <a:solidFill>
              <a:srgbClr val="00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800"/>
              </a:spcAft>
              <a:buNone/>
              <a:defRPr/>
            </a:pPr>
            <a:r>
              <a:rPr lang="en-US" sz="1800" dirty="0"/>
              <a:t>Shadow Play</a:t>
            </a:r>
            <a:endParaRPr lang="en-QA" sz="1800" dirty="0"/>
          </a:p>
        </p:txBody>
      </p:sp>
      <p:sp>
        <p:nvSpPr>
          <p:cNvPr id="23" name="Content Placeholder 2">
            <a:extLst>
              <a:ext uri="{FF2B5EF4-FFF2-40B4-BE49-F238E27FC236}">
                <a16:creationId xmlns:a16="http://schemas.microsoft.com/office/drawing/2014/main" id="{771FDFB7-4304-6F83-9E5B-36704D7202DC}"/>
              </a:ext>
            </a:extLst>
          </p:cNvPr>
          <p:cNvSpPr txBox="1">
            <a:spLocks/>
          </p:cNvSpPr>
          <p:nvPr/>
        </p:nvSpPr>
        <p:spPr>
          <a:xfrm>
            <a:off x="10234361" y="5639733"/>
            <a:ext cx="1529338" cy="619483"/>
          </a:xfrm>
          <a:custGeom>
            <a:avLst/>
            <a:gdLst>
              <a:gd name="csX0" fmla="*/ 0 w 1529338"/>
              <a:gd name="csY0" fmla="*/ 0 h 619483"/>
              <a:gd name="csX1" fmla="*/ 1529338 w 1529338"/>
              <a:gd name="csY1" fmla="*/ 0 h 619483"/>
              <a:gd name="csX2" fmla="*/ 1529338 w 1529338"/>
              <a:gd name="csY2" fmla="*/ 619483 h 619483"/>
              <a:gd name="csX3" fmla="*/ 0 w 1529338"/>
              <a:gd name="csY3" fmla="*/ 619483 h 619483"/>
              <a:gd name="csX4" fmla="*/ 0 w 1529338"/>
              <a:gd name="csY4" fmla="*/ 0 h 619483"/>
            </a:gdLst>
            <a:ahLst/>
            <a:cxnLst>
              <a:cxn ang="0">
                <a:pos x="csX0" y="csY0"/>
              </a:cxn>
              <a:cxn ang="0">
                <a:pos x="csX1" y="csY1"/>
              </a:cxn>
              <a:cxn ang="0">
                <a:pos x="csX2" y="csY2"/>
              </a:cxn>
              <a:cxn ang="0">
                <a:pos x="csX3" y="csY3"/>
              </a:cxn>
              <a:cxn ang="0">
                <a:pos x="csX4" y="csY4"/>
              </a:cxn>
            </a:cxnLst>
            <a:rect l="l" t="t" r="r" b="b"/>
            <a:pathLst>
              <a:path w="1529338" h="619483" fill="none" extrusionOk="0">
                <a:moveTo>
                  <a:pt x="0" y="0"/>
                </a:moveTo>
                <a:cubicBezTo>
                  <a:pt x="328708" y="39241"/>
                  <a:pt x="888443" y="81098"/>
                  <a:pt x="1529338" y="0"/>
                </a:cubicBezTo>
                <a:cubicBezTo>
                  <a:pt x="1539639" y="62171"/>
                  <a:pt x="1581253" y="420408"/>
                  <a:pt x="1529338" y="619483"/>
                </a:cubicBezTo>
                <a:cubicBezTo>
                  <a:pt x="1174650" y="641806"/>
                  <a:pt x="533113" y="503432"/>
                  <a:pt x="0" y="619483"/>
                </a:cubicBezTo>
                <a:cubicBezTo>
                  <a:pt x="-602" y="411654"/>
                  <a:pt x="36744" y="79775"/>
                  <a:pt x="0" y="0"/>
                </a:cubicBezTo>
                <a:close/>
              </a:path>
              <a:path w="1529338" h="619483" stroke="0" extrusionOk="0">
                <a:moveTo>
                  <a:pt x="0" y="0"/>
                </a:moveTo>
                <a:cubicBezTo>
                  <a:pt x="173269" y="38238"/>
                  <a:pt x="1067461" y="107594"/>
                  <a:pt x="1529338" y="0"/>
                </a:cubicBezTo>
                <a:cubicBezTo>
                  <a:pt x="1488419" y="174275"/>
                  <a:pt x="1502406" y="415603"/>
                  <a:pt x="1529338" y="619483"/>
                </a:cubicBezTo>
                <a:cubicBezTo>
                  <a:pt x="1350907" y="603194"/>
                  <a:pt x="328422" y="680951"/>
                  <a:pt x="0" y="619483"/>
                </a:cubicBezTo>
                <a:cubicBezTo>
                  <a:pt x="40900" y="346334"/>
                  <a:pt x="29703" y="166268"/>
                  <a:pt x="0" y="0"/>
                </a:cubicBezTo>
                <a:close/>
              </a:path>
            </a:pathLst>
          </a:custGeom>
          <a:solidFill>
            <a:schemeClr val="accent4"/>
          </a:solidFill>
          <a:ln>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extLst>
              <a:ext uri="{C807C97D-BFC1-408E-A445-0C87EB9F89A2}">
                <ask:lineSketchStyleProps xmlns:ask="http://schemas.microsoft.com/office/drawing/2018/sketchyshapes" sd="1219033472">
                  <a:prstGeom prst="rect">
                    <a:avLst/>
                  </a:prstGeom>
                  <ask:type>
                    <ask:lineSketchCurved/>
                  </ask:type>
                </ask:lineSketchStyleProps>
              </a:ext>
            </a:extLst>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t>Flood management</a:t>
            </a:r>
            <a:endParaRPr lang="en-QA" sz="1800" dirty="0"/>
          </a:p>
        </p:txBody>
      </p:sp>
      <p:sp>
        <p:nvSpPr>
          <p:cNvPr id="25" name="Content Placeholder 2">
            <a:extLst>
              <a:ext uri="{FF2B5EF4-FFF2-40B4-BE49-F238E27FC236}">
                <a16:creationId xmlns:a16="http://schemas.microsoft.com/office/drawing/2014/main" id="{C8A62765-35B5-8DD4-D264-629F4AC9C12B}"/>
              </a:ext>
            </a:extLst>
          </p:cNvPr>
          <p:cNvSpPr txBox="1">
            <a:spLocks/>
          </p:cNvSpPr>
          <p:nvPr/>
        </p:nvSpPr>
        <p:spPr>
          <a:xfrm>
            <a:off x="10045773" y="245139"/>
            <a:ext cx="1434206" cy="369333"/>
          </a:xfrm>
          <a:custGeom>
            <a:avLst/>
            <a:gdLst>
              <a:gd name="csX0" fmla="*/ 0 w 1434206"/>
              <a:gd name="csY0" fmla="*/ 0 h 369333"/>
              <a:gd name="csX1" fmla="*/ 1434206 w 1434206"/>
              <a:gd name="csY1" fmla="*/ 0 h 369333"/>
              <a:gd name="csX2" fmla="*/ 1434206 w 1434206"/>
              <a:gd name="csY2" fmla="*/ 369333 h 369333"/>
              <a:gd name="csX3" fmla="*/ 0 w 1434206"/>
              <a:gd name="csY3" fmla="*/ 369333 h 369333"/>
              <a:gd name="csX4" fmla="*/ 0 w 1434206"/>
              <a:gd name="csY4" fmla="*/ 0 h 369333"/>
            </a:gdLst>
            <a:ahLst/>
            <a:cxnLst>
              <a:cxn ang="0">
                <a:pos x="csX0" y="csY0"/>
              </a:cxn>
              <a:cxn ang="0">
                <a:pos x="csX1" y="csY1"/>
              </a:cxn>
              <a:cxn ang="0">
                <a:pos x="csX2" y="csY2"/>
              </a:cxn>
              <a:cxn ang="0">
                <a:pos x="csX3" y="csY3"/>
              </a:cxn>
              <a:cxn ang="0">
                <a:pos x="csX4" y="csY4"/>
              </a:cxn>
            </a:cxnLst>
            <a:rect l="l" t="t" r="r" b="b"/>
            <a:pathLst>
              <a:path w="1434206" h="369333" fill="none" extrusionOk="0">
                <a:moveTo>
                  <a:pt x="0" y="0"/>
                </a:moveTo>
                <a:cubicBezTo>
                  <a:pt x="516789" y="98270"/>
                  <a:pt x="830290" y="-75175"/>
                  <a:pt x="1434206" y="0"/>
                </a:cubicBezTo>
                <a:cubicBezTo>
                  <a:pt x="1428051" y="129818"/>
                  <a:pt x="1414981" y="299449"/>
                  <a:pt x="1434206" y="369333"/>
                </a:cubicBezTo>
                <a:cubicBezTo>
                  <a:pt x="911212" y="394800"/>
                  <a:pt x="689442" y="263189"/>
                  <a:pt x="0" y="369333"/>
                </a:cubicBezTo>
                <a:cubicBezTo>
                  <a:pt x="-14715" y="189149"/>
                  <a:pt x="-15234" y="122538"/>
                  <a:pt x="0" y="0"/>
                </a:cubicBezTo>
                <a:close/>
              </a:path>
              <a:path w="1434206" h="369333" stroke="0" extrusionOk="0">
                <a:moveTo>
                  <a:pt x="0" y="0"/>
                </a:moveTo>
                <a:cubicBezTo>
                  <a:pt x="241719" y="-53601"/>
                  <a:pt x="1204168" y="88356"/>
                  <a:pt x="1434206" y="0"/>
                </a:cubicBezTo>
                <a:cubicBezTo>
                  <a:pt x="1418393" y="160396"/>
                  <a:pt x="1440014" y="239032"/>
                  <a:pt x="1434206" y="369333"/>
                </a:cubicBezTo>
                <a:cubicBezTo>
                  <a:pt x="976099" y="396339"/>
                  <a:pt x="241360" y="476246"/>
                  <a:pt x="0" y="369333"/>
                </a:cubicBezTo>
                <a:cubicBezTo>
                  <a:pt x="19783" y="330354"/>
                  <a:pt x="12962" y="99350"/>
                  <a:pt x="0" y="0"/>
                </a:cubicBezTo>
                <a:close/>
              </a:path>
            </a:pathLst>
          </a:custGeom>
          <a:solidFill>
            <a:schemeClr val="accent4"/>
          </a:solidFill>
          <a:ln>
            <a:solidFill>
              <a:srgbClr val="000000"/>
            </a:solidFill>
            <a:extLst>
              <a:ext uri="{C807C97D-BFC1-408E-A445-0C87EB9F89A2}">
                <ask:lineSketchStyleProps xmlns:ask="http://schemas.microsoft.com/office/drawing/2018/sketchyshapes" sd="1219033472">
                  <a:prstGeom prst="rect">
                    <a:avLst/>
                  </a:prstGeom>
                  <ask:type>
                    <ask:lineSketchCurved/>
                  </ask:type>
                </ask:lineSketchStyleProps>
              </a:ext>
            </a:extLst>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800"/>
              </a:spcAft>
              <a:buNone/>
              <a:defRPr/>
            </a:pPr>
            <a:r>
              <a:rPr lang="en-US" sz="1800" dirty="0"/>
              <a:t>ABC by me</a:t>
            </a:r>
            <a:endParaRPr lang="en-QA" sz="1800" dirty="0"/>
          </a:p>
        </p:txBody>
      </p:sp>
      <p:grpSp>
        <p:nvGrpSpPr>
          <p:cNvPr id="3" name="Group 23">
            <a:extLst>
              <a:ext uri="{FF2B5EF4-FFF2-40B4-BE49-F238E27FC236}">
                <a16:creationId xmlns:a16="http://schemas.microsoft.com/office/drawing/2014/main" id="{21883AFF-92BF-0917-1E91-44062F168864}"/>
              </a:ext>
            </a:extLst>
          </p:cNvPr>
          <p:cNvGrpSpPr/>
          <p:nvPr/>
        </p:nvGrpSpPr>
        <p:grpSpPr>
          <a:xfrm>
            <a:off x="296603" y="1715385"/>
            <a:ext cx="2364635" cy="960298"/>
            <a:chOff x="0" y="0"/>
            <a:chExt cx="3860862" cy="1100085"/>
          </a:xfrm>
        </p:grpSpPr>
        <p:sp>
          <p:nvSpPr>
            <p:cNvPr id="5" name="Freeform 24">
              <a:extLst>
                <a:ext uri="{FF2B5EF4-FFF2-40B4-BE49-F238E27FC236}">
                  <a16:creationId xmlns:a16="http://schemas.microsoft.com/office/drawing/2014/main" id="{26150B03-9658-56B3-9842-F835121D770C}"/>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BDD1C5"/>
            </a:solidFill>
          </p:spPr>
        </p:sp>
      </p:grpSp>
      <p:sp>
        <p:nvSpPr>
          <p:cNvPr id="12" name="TextBox 32">
            <a:extLst>
              <a:ext uri="{FF2B5EF4-FFF2-40B4-BE49-F238E27FC236}">
                <a16:creationId xmlns:a16="http://schemas.microsoft.com/office/drawing/2014/main" id="{977A33B4-45D1-31CA-FD8F-5E901E1C6F7E}"/>
              </a:ext>
            </a:extLst>
          </p:cNvPr>
          <p:cNvSpPr txBox="1"/>
          <p:nvPr/>
        </p:nvSpPr>
        <p:spPr>
          <a:xfrm>
            <a:off x="1250766" y="1874592"/>
            <a:ext cx="1318070" cy="615553"/>
          </a:xfrm>
          <a:prstGeom prst="rect">
            <a:avLst/>
          </a:prstGeom>
        </p:spPr>
        <p:txBody>
          <a:bodyPr wrap="square" lIns="0" tIns="0" rIns="0" bIns="0" rtlCol="0" anchor="t">
            <a:spAutoFit/>
          </a:bodyPr>
          <a:lstStyle/>
          <a:p>
            <a:pPr lvl="0" rtl="0"/>
            <a:r>
              <a:rPr lang="en-GB" sz="2000" dirty="0"/>
              <a:t>Teacher-centred</a:t>
            </a:r>
          </a:p>
        </p:txBody>
      </p:sp>
      <p:grpSp>
        <p:nvGrpSpPr>
          <p:cNvPr id="13" name="Group 33">
            <a:extLst>
              <a:ext uri="{FF2B5EF4-FFF2-40B4-BE49-F238E27FC236}">
                <a16:creationId xmlns:a16="http://schemas.microsoft.com/office/drawing/2014/main" id="{3B40C827-D064-6D2B-02DC-080FA07220BA}"/>
              </a:ext>
            </a:extLst>
          </p:cNvPr>
          <p:cNvGrpSpPr/>
          <p:nvPr/>
        </p:nvGrpSpPr>
        <p:grpSpPr>
          <a:xfrm>
            <a:off x="296602" y="5358574"/>
            <a:ext cx="2378351" cy="909385"/>
            <a:chOff x="0" y="0"/>
            <a:chExt cx="3860862" cy="1100085"/>
          </a:xfrm>
        </p:grpSpPr>
        <p:sp>
          <p:nvSpPr>
            <p:cNvPr id="14" name="Freeform 34">
              <a:extLst>
                <a:ext uri="{FF2B5EF4-FFF2-40B4-BE49-F238E27FC236}">
                  <a16:creationId xmlns:a16="http://schemas.microsoft.com/office/drawing/2014/main" id="{808ED067-A346-31DF-9E85-9077915F5647}"/>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E8B298"/>
            </a:solidFill>
          </p:spPr>
        </p:sp>
      </p:grpSp>
      <p:sp>
        <p:nvSpPr>
          <p:cNvPr id="16" name="TextBox 38">
            <a:extLst>
              <a:ext uri="{FF2B5EF4-FFF2-40B4-BE49-F238E27FC236}">
                <a16:creationId xmlns:a16="http://schemas.microsoft.com/office/drawing/2014/main" id="{5CA11729-A076-CA46-E089-41E57048D63B}"/>
              </a:ext>
            </a:extLst>
          </p:cNvPr>
          <p:cNvSpPr txBox="1"/>
          <p:nvPr/>
        </p:nvSpPr>
        <p:spPr>
          <a:xfrm>
            <a:off x="1317613" y="5223089"/>
            <a:ext cx="1497852" cy="923330"/>
          </a:xfrm>
          <a:prstGeom prst="rect">
            <a:avLst/>
          </a:prstGeom>
        </p:spPr>
        <p:txBody>
          <a:bodyPr wrap="square" lIns="0" tIns="0" rIns="0" bIns="0" rtlCol="0" anchor="t">
            <a:spAutoFit/>
          </a:bodyPr>
          <a:lstStyle/>
          <a:p>
            <a:pPr lvl="0" rtl="0"/>
            <a:endParaRPr lang="en-GB" sz="2000" dirty="0"/>
          </a:p>
          <a:p>
            <a:pPr lvl="0" rtl="0"/>
            <a:r>
              <a:rPr lang="en-GB" sz="2000" dirty="0"/>
              <a:t>Discipline-based</a:t>
            </a:r>
          </a:p>
        </p:txBody>
      </p:sp>
      <p:grpSp>
        <p:nvGrpSpPr>
          <p:cNvPr id="18" name="Group 44">
            <a:extLst>
              <a:ext uri="{FF2B5EF4-FFF2-40B4-BE49-F238E27FC236}">
                <a16:creationId xmlns:a16="http://schemas.microsoft.com/office/drawing/2014/main" id="{512E8F5E-182F-5FAA-F8A7-97C4FF7FCEFE}"/>
              </a:ext>
            </a:extLst>
          </p:cNvPr>
          <p:cNvGrpSpPr/>
          <p:nvPr/>
        </p:nvGrpSpPr>
        <p:grpSpPr>
          <a:xfrm>
            <a:off x="296603" y="2933925"/>
            <a:ext cx="2364630" cy="960298"/>
            <a:chOff x="0" y="0"/>
            <a:chExt cx="3860862" cy="1100085"/>
          </a:xfrm>
        </p:grpSpPr>
        <p:sp>
          <p:nvSpPr>
            <p:cNvPr id="20" name="Freeform 45">
              <a:extLst>
                <a:ext uri="{FF2B5EF4-FFF2-40B4-BE49-F238E27FC236}">
                  <a16:creationId xmlns:a16="http://schemas.microsoft.com/office/drawing/2014/main" id="{0779B1ED-74BA-2BD4-77C0-CE81411684CD}"/>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EECC8C"/>
            </a:solidFill>
          </p:spPr>
        </p:sp>
      </p:grpSp>
      <p:sp>
        <p:nvSpPr>
          <p:cNvPr id="31" name="TextBox 49">
            <a:extLst>
              <a:ext uri="{FF2B5EF4-FFF2-40B4-BE49-F238E27FC236}">
                <a16:creationId xmlns:a16="http://schemas.microsoft.com/office/drawing/2014/main" id="{3FB9DEA0-92A3-0955-C71A-CD8DC8625C7C}"/>
              </a:ext>
            </a:extLst>
          </p:cNvPr>
          <p:cNvSpPr txBox="1"/>
          <p:nvPr/>
        </p:nvSpPr>
        <p:spPr>
          <a:xfrm>
            <a:off x="1360100" y="2870349"/>
            <a:ext cx="1199457" cy="923330"/>
          </a:xfrm>
          <a:prstGeom prst="rect">
            <a:avLst/>
          </a:prstGeom>
        </p:spPr>
        <p:txBody>
          <a:bodyPr wrap="square" lIns="0" tIns="0" rIns="0" bIns="0" rtlCol="0" anchor="t">
            <a:spAutoFit/>
          </a:bodyPr>
          <a:lstStyle/>
          <a:p>
            <a:pPr lvl="0" rtl="0"/>
            <a:endParaRPr lang="en-GB" sz="2000" dirty="0"/>
          </a:p>
          <a:p>
            <a:pPr lvl="0" rtl="0"/>
            <a:r>
              <a:rPr lang="en-GB" sz="2000" dirty="0"/>
              <a:t>Textbook Based</a:t>
            </a:r>
          </a:p>
        </p:txBody>
      </p:sp>
      <p:grpSp>
        <p:nvGrpSpPr>
          <p:cNvPr id="42" name="Group 25">
            <a:extLst>
              <a:ext uri="{FF2B5EF4-FFF2-40B4-BE49-F238E27FC236}">
                <a16:creationId xmlns:a16="http://schemas.microsoft.com/office/drawing/2014/main" id="{E85D2728-93C7-833B-6D8B-4609602093F5}"/>
              </a:ext>
            </a:extLst>
          </p:cNvPr>
          <p:cNvGrpSpPr/>
          <p:nvPr/>
        </p:nvGrpSpPr>
        <p:grpSpPr>
          <a:xfrm>
            <a:off x="314494" y="4152465"/>
            <a:ext cx="2308786" cy="909384"/>
            <a:chOff x="0" y="0"/>
            <a:chExt cx="3860862" cy="1100085"/>
          </a:xfrm>
        </p:grpSpPr>
        <p:sp>
          <p:nvSpPr>
            <p:cNvPr id="43" name="Freeform 26">
              <a:extLst>
                <a:ext uri="{FF2B5EF4-FFF2-40B4-BE49-F238E27FC236}">
                  <a16:creationId xmlns:a16="http://schemas.microsoft.com/office/drawing/2014/main" id="{89C639BA-9ACF-0AD0-3CFE-10C01EF38DFE}"/>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D3A29D"/>
            </a:solidFill>
          </p:spPr>
        </p:sp>
      </p:grpSp>
      <p:sp>
        <p:nvSpPr>
          <p:cNvPr id="44" name="TextBox 30">
            <a:extLst>
              <a:ext uri="{FF2B5EF4-FFF2-40B4-BE49-F238E27FC236}">
                <a16:creationId xmlns:a16="http://schemas.microsoft.com/office/drawing/2014/main" id="{5E8F910E-2F0E-63C3-9153-44138B516A25}"/>
              </a:ext>
            </a:extLst>
          </p:cNvPr>
          <p:cNvSpPr txBox="1"/>
          <p:nvPr/>
        </p:nvSpPr>
        <p:spPr>
          <a:xfrm>
            <a:off x="1279042" y="4003686"/>
            <a:ext cx="1506478" cy="923330"/>
          </a:xfrm>
          <a:prstGeom prst="rect">
            <a:avLst/>
          </a:prstGeom>
        </p:spPr>
        <p:txBody>
          <a:bodyPr wrap="square" lIns="0" tIns="0" rIns="0" bIns="0" rtlCol="0" anchor="t">
            <a:spAutoFit/>
          </a:bodyPr>
          <a:lstStyle/>
          <a:p>
            <a:pPr lvl="0" rtl="0"/>
            <a:endParaRPr lang="en-GB" sz="2000" dirty="0"/>
          </a:p>
          <a:p>
            <a:pPr lvl="0" rtl="0"/>
            <a:r>
              <a:rPr lang="en-GB" sz="2000" dirty="0"/>
              <a:t>Passive learning</a:t>
            </a:r>
          </a:p>
        </p:txBody>
      </p:sp>
      <p:pic>
        <p:nvPicPr>
          <p:cNvPr id="47" name="Picture 46">
            <a:extLst>
              <a:ext uri="{FF2B5EF4-FFF2-40B4-BE49-F238E27FC236}">
                <a16:creationId xmlns:a16="http://schemas.microsoft.com/office/drawing/2014/main" id="{0E207382-83B2-A04E-6B7F-FDA5644087FB}"/>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261418" y="1737751"/>
            <a:ext cx="896946" cy="850770"/>
          </a:xfrm>
          <a:prstGeom prst="rect">
            <a:avLst/>
          </a:prstGeom>
        </p:spPr>
      </p:pic>
      <p:pic>
        <p:nvPicPr>
          <p:cNvPr id="48" name="Picture 2">
            <a:extLst>
              <a:ext uri="{FF2B5EF4-FFF2-40B4-BE49-F238E27FC236}">
                <a16:creationId xmlns:a16="http://schemas.microsoft.com/office/drawing/2014/main" id="{17FF60C0-9140-63A0-6BCC-308760E2A917}"/>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p:blipFill>
        <p:spPr>
          <a:xfrm>
            <a:off x="288137" y="3124593"/>
            <a:ext cx="970287" cy="608634"/>
          </a:xfrm>
          <a:prstGeom prst="rect">
            <a:avLst/>
          </a:prstGeom>
        </p:spPr>
      </p:pic>
      <p:pic>
        <p:nvPicPr>
          <p:cNvPr id="49" name="Picture 10">
            <a:extLst>
              <a:ext uri="{FF2B5EF4-FFF2-40B4-BE49-F238E27FC236}">
                <a16:creationId xmlns:a16="http://schemas.microsoft.com/office/drawing/2014/main" id="{31F2E618-E6F6-7FE6-1BC1-35C651B1ABB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p:blipFill>
        <p:spPr>
          <a:xfrm>
            <a:off x="381707" y="4274605"/>
            <a:ext cx="758873" cy="666959"/>
          </a:xfrm>
          <a:prstGeom prst="rect">
            <a:avLst/>
          </a:prstGeom>
        </p:spPr>
      </p:pic>
      <p:pic>
        <p:nvPicPr>
          <p:cNvPr id="50" name="Picture 3">
            <a:extLst>
              <a:ext uri="{FF2B5EF4-FFF2-40B4-BE49-F238E27FC236}">
                <a16:creationId xmlns:a16="http://schemas.microsoft.com/office/drawing/2014/main" id="{B193FF24-48A6-5F32-3E43-26483BB8A10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a:fillRect/>
          </a:stretch>
        </p:blipFill>
        <p:spPr>
          <a:xfrm rot="16407773">
            <a:off x="292756" y="5509047"/>
            <a:ext cx="722411" cy="555599"/>
          </a:xfrm>
          <a:prstGeom prst="rect">
            <a:avLst/>
          </a:prstGeom>
        </p:spPr>
      </p:pic>
      <p:sp>
        <p:nvSpPr>
          <p:cNvPr id="52" name="Striped Right Arrow 51">
            <a:extLst>
              <a:ext uri="{FF2B5EF4-FFF2-40B4-BE49-F238E27FC236}">
                <a16:creationId xmlns:a16="http://schemas.microsoft.com/office/drawing/2014/main" id="{D50BE028-F1EE-A394-1148-4DD7B11B620D}"/>
              </a:ext>
            </a:extLst>
          </p:cNvPr>
          <p:cNvSpPr/>
          <p:nvPr/>
        </p:nvSpPr>
        <p:spPr>
          <a:xfrm>
            <a:off x="2747559" y="2037807"/>
            <a:ext cx="604340" cy="436577"/>
          </a:xfrm>
          <a:prstGeom prst="striped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QA" dirty="0"/>
          </a:p>
        </p:txBody>
      </p:sp>
      <p:sp>
        <p:nvSpPr>
          <p:cNvPr id="53" name="Striped Right Arrow 52">
            <a:extLst>
              <a:ext uri="{FF2B5EF4-FFF2-40B4-BE49-F238E27FC236}">
                <a16:creationId xmlns:a16="http://schemas.microsoft.com/office/drawing/2014/main" id="{EFFD47D1-C512-6089-1DC7-1AD9BCCC4B85}"/>
              </a:ext>
            </a:extLst>
          </p:cNvPr>
          <p:cNvSpPr/>
          <p:nvPr/>
        </p:nvSpPr>
        <p:spPr>
          <a:xfrm>
            <a:off x="2754098" y="3177511"/>
            <a:ext cx="604340" cy="436577"/>
          </a:xfrm>
          <a:prstGeom prst="striped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QA" dirty="0"/>
          </a:p>
        </p:txBody>
      </p:sp>
      <p:sp>
        <p:nvSpPr>
          <p:cNvPr id="54" name="Striped Right Arrow 53">
            <a:extLst>
              <a:ext uri="{FF2B5EF4-FFF2-40B4-BE49-F238E27FC236}">
                <a16:creationId xmlns:a16="http://schemas.microsoft.com/office/drawing/2014/main" id="{F1A54058-650E-D83B-EDEA-21393517A913}"/>
              </a:ext>
            </a:extLst>
          </p:cNvPr>
          <p:cNvSpPr/>
          <p:nvPr/>
        </p:nvSpPr>
        <p:spPr>
          <a:xfrm>
            <a:off x="2754098" y="4388868"/>
            <a:ext cx="604340" cy="436577"/>
          </a:xfrm>
          <a:prstGeom prst="striped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QA" dirty="0"/>
          </a:p>
        </p:txBody>
      </p:sp>
      <p:sp>
        <p:nvSpPr>
          <p:cNvPr id="55" name="Striped Right Arrow 54">
            <a:extLst>
              <a:ext uri="{FF2B5EF4-FFF2-40B4-BE49-F238E27FC236}">
                <a16:creationId xmlns:a16="http://schemas.microsoft.com/office/drawing/2014/main" id="{DF847A7C-6A18-8243-AA1E-9CDB1527C83F}"/>
              </a:ext>
            </a:extLst>
          </p:cNvPr>
          <p:cNvSpPr/>
          <p:nvPr/>
        </p:nvSpPr>
        <p:spPr>
          <a:xfrm>
            <a:off x="2754098" y="5568558"/>
            <a:ext cx="604340" cy="436577"/>
          </a:xfrm>
          <a:prstGeom prst="striped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QA" dirty="0"/>
          </a:p>
        </p:txBody>
      </p:sp>
      <p:grpSp>
        <p:nvGrpSpPr>
          <p:cNvPr id="56" name="Group 23">
            <a:extLst>
              <a:ext uri="{FF2B5EF4-FFF2-40B4-BE49-F238E27FC236}">
                <a16:creationId xmlns:a16="http://schemas.microsoft.com/office/drawing/2014/main" id="{B4B2C3B8-8D7D-85E0-BDAC-EC9F43EBB084}"/>
              </a:ext>
            </a:extLst>
          </p:cNvPr>
          <p:cNvGrpSpPr/>
          <p:nvPr/>
        </p:nvGrpSpPr>
        <p:grpSpPr>
          <a:xfrm>
            <a:off x="3612742" y="1715385"/>
            <a:ext cx="2364635" cy="960298"/>
            <a:chOff x="0" y="0"/>
            <a:chExt cx="3860862" cy="1100085"/>
          </a:xfrm>
        </p:grpSpPr>
        <p:sp>
          <p:nvSpPr>
            <p:cNvPr id="57" name="Freeform 24">
              <a:extLst>
                <a:ext uri="{FF2B5EF4-FFF2-40B4-BE49-F238E27FC236}">
                  <a16:creationId xmlns:a16="http://schemas.microsoft.com/office/drawing/2014/main" id="{301DF46B-1C36-509F-C7C3-8FEAE33EAEB4}"/>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BDD1C5"/>
            </a:solidFill>
          </p:spPr>
        </p:sp>
      </p:grpSp>
      <p:sp>
        <p:nvSpPr>
          <p:cNvPr id="58" name="TextBox 32">
            <a:extLst>
              <a:ext uri="{FF2B5EF4-FFF2-40B4-BE49-F238E27FC236}">
                <a16:creationId xmlns:a16="http://schemas.microsoft.com/office/drawing/2014/main" id="{375D312D-9B67-F457-B19D-45C67F39A81E}"/>
              </a:ext>
            </a:extLst>
          </p:cNvPr>
          <p:cNvSpPr txBox="1"/>
          <p:nvPr/>
        </p:nvSpPr>
        <p:spPr>
          <a:xfrm>
            <a:off x="4692082" y="1874592"/>
            <a:ext cx="1232867" cy="615553"/>
          </a:xfrm>
          <a:prstGeom prst="rect">
            <a:avLst/>
          </a:prstGeom>
        </p:spPr>
        <p:txBody>
          <a:bodyPr wrap="square" lIns="0" tIns="0" rIns="0" bIns="0" rtlCol="0" anchor="t">
            <a:spAutoFit/>
          </a:bodyPr>
          <a:lstStyle/>
          <a:p>
            <a:pPr lvl="0" rtl="0"/>
            <a:r>
              <a:rPr lang="en-GB" sz="2000" dirty="0"/>
              <a:t>Student-centred</a:t>
            </a:r>
          </a:p>
        </p:txBody>
      </p:sp>
      <p:grpSp>
        <p:nvGrpSpPr>
          <p:cNvPr id="59" name="Group 33">
            <a:extLst>
              <a:ext uri="{FF2B5EF4-FFF2-40B4-BE49-F238E27FC236}">
                <a16:creationId xmlns:a16="http://schemas.microsoft.com/office/drawing/2014/main" id="{FF62D7F8-5B08-5BD5-EACB-3CC86DA42C04}"/>
              </a:ext>
            </a:extLst>
          </p:cNvPr>
          <p:cNvGrpSpPr/>
          <p:nvPr/>
        </p:nvGrpSpPr>
        <p:grpSpPr>
          <a:xfrm>
            <a:off x="3612741" y="5358574"/>
            <a:ext cx="2378351" cy="909385"/>
            <a:chOff x="0" y="0"/>
            <a:chExt cx="3860862" cy="1100085"/>
          </a:xfrm>
        </p:grpSpPr>
        <p:sp>
          <p:nvSpPr>
            <p:cNvPr id="60" name="Freeform 34">
              <a:extLst>
                <a:ext uri="{FF2B5EF4-FFF2-40B4-BE49-F238E27FC236}">
                  <a16:creationId xmlns:a16="http://schemas.microsoft.com/office/drawing/2014/main" id="{F57BC184-3F50-93F8-13CC-F7E14B2C1A67}"/>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E8B298"/>
            </a:solidFill>
          </p:spPr>
        </p:sp>
      </p:grpSp>
      <p:sp>
        <p:nvSpPr>
          <p:cNvPr id="61" name="TextBox 38">
            <a:extLst>
              <a:ext uri="{FF2B5EF4-FFF2-40B4-BE49-F238E27FC236}">
                <a16:creationId xmlns:a16="http://schemas.microsoft.com/office/drawing/2014/main" id="{80CDCAED-D334-367E-015C-0F5B4E195ABB}"/>
              </a:ext>
            </a:extLst>
          </p:cNvPr>
          <p:cNvSpPr txBox="1"/>
          <p:nvPr/>
        </p:nvSpPr>
        <p:spPr>
          <a:xfrm>
            <a:off x="4323845" y="5659377"/>
            <a:ext cx="1680910" cy="307777"/>
          </a:xfrm>
          <a:prstGeom prst="rect">
            <a:avLst/>
          </a:prstGeom>
        </p:spPr>
        <p:txBody>
          <a:bodyPr wrap="square" lIns="0" tIns="0" rIns="0" bIns="0" rtlCol="0" anchor="t">
            <a:spAutoFit/>
          </a:bodyPr>
          <a:lstStyle/>
          <a:p>
            <a:pPr lvl="0" rtl="0"/>
            <a:r>
              <a:rPr lang="en-GB" sz="2000" dirty="0"/>
              <a:t>Interdisciplinary</a:t>
            </a:r>
          </a:p>
        </p:txBody>
      </p:sp>
      <p:grpSp>
        <p:nvGrpSpPr>
          <p:cNvPr id="62" name="Group 44">
            <a:extLst>
              <a:ext uri="{FF2B5EF4-FFF2-40B4-BE49-F238E27FC236}">
                <a16:creationId xmlns:a16="http://schemas.microsoft.com/office/drawing/2014/main" id="{816988EA-9308-4593-2105-CFC1E149330B}"/>
              </a:ext>
            </a:extLst>
          </p:cNvPr>
          <p:cNvGrpSpPr/>
          <p:nvPr/>
        </p:nvGrpSpPr>
        <p:grpSpPr>
          <a:xfrm>
            <a:off x="3612742" y="2933925"/>
            <a:ext cx="2364630" cy="960298"/>
            <a:chOff x="0" y="0"/>
            <a:chExt cx="3860862" cy="1100085"/>
          </a:xfrm>
        </p:grpSpPr>
        <p:sp>
          <p:nvSpPr>
            <p:cNvPr id="63" name="Freeform 45">
              <a:extLst>
                <a:ext uri="{FF2B5EF4-FFF2-40B4-BE49-F238E27FC236}">
                  <a16:creationId xmlns:a16="http://schemas.microsoft.com/office/drawing/2014/main" id="{574CCA37-4B12-F018-B34D-1A6E91BC277C}"/>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EECC8C"/>
            </a:solidFill>
          </p:spPr>
        </p:sp>
      </p:grpSp>
      <p:sp>
        <p:nvSpPr>
          <p:cNvPr id="64" name="TextBox 49">
            <a:extLst>
              <a:ext uri="{FF2B5EF4-FFF2-40B4-BE49-F238E27FC236}">
                <a16:creationId xmlns:a16="http://schemas.microsoft.com/office/drawing/2014/main" id="{39DF9F69-F562-3063-090A-29B16799EFF8}"/>
              </a:ext>
            </a:extLst>
          </p:cNvPr>
          <p:cNvSpPr txBox="1"/>
          <p:nvPr/>
        </p:nvSpPr>
        <p:spPr>
          <a:xfrm>
            <a:off x="4615510" y="3120725"/>
            <a:ext cx="1805174" cy="615553"/>
          </a:xfrm>
          <a:prstGeom prst="rect">
            <a:avLst/>
          </a:prstGeom>
        </p:spPr>
        <p:txBody>
          <a:bodyPr wrap="square" lIns="0" tIns="0" rIns="0" bIns="0" rtlCol="0" anchor="t">
            <a:spAutoFit/>
          </a:bodyPr>
          <a:lstStyle/>
          <a:p>
            <a:pPr lvl="0" rtl="0"/>
            <a:r>
              <a:rPr lang="en-GB" sz="2000" dirty="0"/>
              <a:t>Real world learning</a:t>
            </a:r>
          </a:p>
        </p:txBody>
      </p:sp>
      <p:grpSp>
        <p:nvGrpSpPr>
          <p:cNvPr id="65" name="Group 25">
            <a:extLst>
              <a:ext uri="{FF2B5EF4-FFF2-40B4-BE49-F238E27FC236}">
                <a16:creationId xmlns:a16="http://schemas.microsoft.com/office/drawing/2014/main" id="{0529E9A8-2881-08E7-9B15-A6483CAECA79}"/>
              </a:ext>
            </a:extLst>
          </p:cNvPr>
          <p:cNvGrpSpPr/>
          <p:nvPr/>
        </p:nvGrpSpPr>
        <p:grpSpPr>
          <a:xfrm>
            <a:off x="3630633" y="4152465"/>
            <a:ext cx="2308786" cy="909384"/>
            <a:chOff x="0" y="0"/>
            <a:chExt cx="3860862" cy="1100085"/>
          </a:xfrm>
        </p:grpSpPr>
        <p:sp>
          <p:nvSpPr>
            <p:cNvPr id="66" name="Freeform 26">
              <a:extLst>
                <a:ext uri="{FF2B5EF4-FFF2-40B4-BE49-F238E27FC236}">
                  <a16:creationId xmlns:a16="http://schemas.microsoft.com/office/drawing/2014/main" id="{0A32CF98-FBE4-780C-A65A-B7CAA9AE6881}"/>
                </a:ext>
              </a:extLst>
            </p:cNvPr>
            <p:cNvSpPr/>
            <p:nvPr/>
          </p:nvSpPr>
          <p:spPr>
            <a:xfrm>
              <a:off x="0" y="0"/>
              <a:ext cx="3860862" cy="1100085"/>
            </a:xfrm>
            <a:custGeom>
              <a:avLst/>
              <a:gdLst/>
              <a:ahLst/>
              <a:cxnLst/>
              <a:rect l="l" t="t" r="r" b="b"/>
              <a:pathLst>
                <a:path w="3860862" h="1100085">
                  <a:moveTo>
                    <a:pt x="3736402" y="1100085"/>
                  </a:moveTo>
                  <a:lnTo>
                    <a:pt x="124460" y="1100085"/>
                  </a:lnTo>
                  <a:cubicBezTo>
                    <a:pt x="55880" y="1100085"/>
                    <a:pt x="0" y="1044205"/>
                    <a:pt x="0" y="975625"/>
                  </a:cubicBezTo>
                  <a:lnTo>
                    <a:pt x="0" y="124460"/>
                  </a:lnTo>
                  <a:cubicBezTo>
                    <a:pt x="0" y="55880"/>
                    <a:pt x="55880" y="0"/>
                    <a:pt x="124460" y="0"/>
                  </a:cubicBezTo>
                  <a:lnTo>
                    <a:pt x="3736402" y="0"/>
                  </a:lnTo>
                  <a:cubicBezTo>
                    <a:pt x="3804982" y="0"/>
                    <a:pt x="3860862" y="55880"/>
                    <a:pt x="3860862" y="124460"/>
                  </a:cubicBezTo>
                  <a:lnTo>
                    <a:pt x="3860862" y="975625"/>
                  </a:lnTo>
                  <a:cubicBezTo>
                    <a:pt x="3860862" y="1044205"/>
                    <a:pt x="3804982" y="1100085"/>
                    <a:pt x="3736402" y="1100085"/>
                  </a:cubicBezTo>
                  <a:close/>
                </a:path>
              </a:pathLst>
            </a:custGeom>
            <a:solidFill>
              <a:srgbClr val="D3A29D"/>
            </a:solidFill>
          </p:spPr>
        </p:sp>
      </p:grpSp>
      <p:pic>
        <p:nvPicPr>
          <p:cNvPr id="67" name="Picture 6">
            <a:extLst>
              <a:ext uri="{FF2B5EF4-FFF2-40B4-BE49-F238E27FC236}">
                <a16:creationId xmlns:a16="http://schemas.microsoft.com/office/drawing/2014/main" id="{5EBD8E68-DD89-EB3A-10F6-F46DFDA93958}"/>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a:fillRect/>
          </a:stretch>
        </p:blipFill>
        <p:spPr>
          <a:xfrm>
            <a:off x="3392088" y="1861154"/>
            <a:ext cx="1185578" cy="607877"/>
          </a:xfrm>
          <a:prstGeom prst="rect">
            <a:avLst/>
          </a:prstGeom>
        </p:spPr>
      </p:pic>
      <p:pic>
        <p:nvPicPr>
          <p:cNvPr id="68" name="Picture 2">
            <a:extLst>
              <a:ext uri="{FF2B5EF4-FFF2-40B4-BE49-F238E27FC236}">
                <a16:creationId xmlns:a16="http://schemas.microsoft.com/office/drawing/2014/main" id="{B63CDBB5-55CA-36BA-31B2-B28A5C7569DD}"/>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a:fillRect/>
          </a:stretch>
        </p:blipFill>
        <p:spPr>
          <a:xfrm>
            <a:off x="3609693" y="2987105"/>
            <a:ext cx="953210" cy="731588"/>
          </a:xfrm>
          <a:prstGeom prst="rect">
            <a:avLst/>
          </a:prstGeom>
        </p:spPr>
      </p:pic>
      <p:pic>
        <p:nvPicPr>
          <p:cNvPr id="69" name="Picture 4">
            <a:extLst>
              <a:ext uri="{FF2B5EF4-FFF2-40B4-BE49-F238E27FC236}">
                <a16:creationId xmlns:a16="http://schemas.microsoft.com/office/drawing/2014/main" id="{EAA5410E-9CD6-3C52-B6B5-2218A75D6AA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rcRect/>
          <a:stretch>
            <a:fillRect/>
          </a:stretch>
        </p:blipFill>
        <p:spPr>
          <a:xfrm>
            <a:off x="3644479" y="4052094"/>
            <a:ext cx="601277" cy="571213"/>
          </a:xfrm>
          <a:prstGeom prst="rect">
            <a:avLst/>
          </a:prstGeom>
        </p:spPr>
      </p:pic>
      <p:pic>
        <p:nvPicPr>
          <p:cNvPr id="70" name="Picture 5">
            <a:extLst>
              <a:ext uri="{FF2B5EF4-FFF2-40B4-BE49-F238E27FC236}">
                <a16:creationId xmlns:a16="http://schemas.microsoft.com/office/drawing/2014/main" id="{7B628C11-8E7B-8CAC-3FBE-46DE438C1AA2}"/>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rcRect/>
          <a:stretch>
            <a:fillRect/>
          </a:stretch>
        </p:blipFill>
        <p:spPr>
          <a:xfrm>
            <a:off x="3921402" y="4172180"/>
            <a:ext cx="460952" cy="789793"/>
          </a:xfrm>
          <a:prstGeom prst="rect">
            <a:avLst/>
          </a:prstGeom>
        </p:spPr>
      </p:pic>
      <p:pic>
        <p:nvPicPr>
          <p:cNvPr id="71" name="Picture 8">
            <a:extLst>
              <a:ext uri="{FF2B5EF4-FFF2-40B4-BE49-F238E27FC236}">
                <a16:creationId xmlns:a16="http://schemas.microsoft.com/office/drawing/2014/main" id="{45AA4FB0-9710-F5A4-BBD1-F0BB7E5A1D33}"/>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rcRect/>
          <a:stretch>
            <a:fillRect/>
          </a:stretch>
        </p:blipFill>
        <p:spPr>
          <a:xfrm>
            <a:off x="3544547" y="5331036"/>
            <a:ext cx="775773" cy="885333"/>
          </a:xfrm>
          <a:prstGeom prst="rect">
            <a:avLst/>
          </a:prstGeom>
        </p:spPr>
      </p:pic>
      <p:sp>
        <p:nvSpPr>
          <p:cNvPr id="72" name="TextBox 49">
            <a:extLst>
              <a:ext uri="{FF2B5EF4-FFF2-40B4-BE49-F238E27FC236}">
                <a16:creationId xmlns:a16="http://schemas.microsoft.com/office/drawing/2014/main" id="{67D70B0A-6F3F-D5F9-F098-D5FB3DC84EDC}"/>
              </a:ext>
            </a:extLst>
          </p:cNvPr>
          <p:cNvSpPr txBox="1"/>
          <p:nvPr/>
        </p:nvSpPr>
        <p:spPr>
          <a:xfrm>
            <a:off x="4593794" y="4272351"/>
            <a:ext cx="1805174" cy="615553"/>
          </a:xfrm>
          <a:prstGeom prst="rect">
            <a:avLst/>
          </a:prstGeom>
        </p:spPr>
        <p:txBody>
          <a:bodyPr wrap="square" lIns="0" tIns="0" rIns="0" bIns="0" rtlCol="0" anchor="t">
            <a:spAutoFit/>
          </a:bodyPr>
          <a:lstStyle/>
          <a:p>
            <a:pPr lvl="0" rtl="0"/>
            <a:r>
              <a:rPr lang="en-GB" sz="2000" dirty="0"/>
              <a:t>Active &amp; fun learning</a:t>
            </a:r>
          </a:p>
        </p:txBody>
      </p:sp>
    </p:spTree>
    <p:extLst>
      <p:ext uri="{BB962C8B-B14F-4D97-AF65-F5344CB8AC3E}">
        <p14:creationId xmlns:p14="http://schemas.microsoft.com/office/powerpoint/2010/main" val="42534712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CE651B-6390-49E3-8824-18D0C86C6274}"/>
              </a:ext>
            </a:extLst>
          </p:cNvPr>
          <p:cNvSpPr>
            <a:spLocks noGrp="1"/>
          </p:cNvSpPr>
          <p:nvPr>
            <p:ph type="title"/>
          </p:nvPr>
        </p:nvSpPr>
        <p:spPr>
          <a:xfrm>
            <a:off x="1261058" y="82598"/>
            <a:ext cx="3183040" cy="1243584"/>
          </a:xfrm>
        </p:spPr>
        <p:txBody>
          <a:bodyPr vert="horz" lIns="91440" tIns="45720" rIns="91440" bIns="45720" rtlCol="0" anchor="ctr">
            <a:normAutofit/>
          </a:bodyPr>
          <a:lstStyle/>
          <a:p>
            <a:r>
              <a:rPr lang="en-US" sz="3400" b="1" i="1" u="sng" kern="1200" dirty="0">
                <a:solidFill>
                  <a:schemeClr val="accent1"/>
                </a:solidFill>
                <a:latin typeface="Calibri" panose="020F0502020204030204" pitchFamily="34" charset="0"/>
                <a:cs typeface="Calibri" panose="020F0502020204030204" pitchFamily="34" charset="0"/>
                <a:sym typeface="Lustria"/>
              </a:rPr>
              <a:t>Is PBL effective?</a:t>
            </a:r>
            <a:endParaRPr lang="en-US" sz="3400" b="1" i="1" u="sng" kern="1200" dirty="0">
              <a:solidFill>
                <a:schemeClr val="accent1"/>
              </a:solidFill>
              <a:latin typeface="Calibri" panose="020F0502020204030204" pitchFamily="34" charset="0"/>
              <a:cs typeface="Calibri" panose="020F0502020204030204" pitchFamily="34" charset="0"/>
            </a:endParaRPr>
          </a:p>
        </p:txBody>
      </p:sp>
      <p:sp>
        <p:nvSpPr>
          <p:cNvPr id="4" name="Content Placeholder 2">
            <a:extLst>
              <a:ext uri="{FF2B5EF4-FFF2-40B4-BE49-F238E27FC236}">
                <a16:creationId xmlns:a16="http://schemas.microsoft.com/office/drawing/2014/main" id="{AC617A88-C863-EC88-11CA-762D18A789CE}"/>
              </a:ext>
            </a:extLst>
          </p:cNvPr>
          <p:cNvSpPr txBox="1">
            <a:spLocks/>
          </p:cNvSpPr>
          <p:nvPr/>
        </p:nvSpPr>
        <p:spPr>
          <a:xfrm>
            <a:off x="745483" y="1729008"/>
            <a:ext cx="4675272" cy="41366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a:endParaRPr lang="en-US" sz="2000" dirty="0"/>
          </a:p>
        </p:txBody>
      </p:sp>
      <p:graphicFrame>
        <p:nvGraphicFramePr>
          <p:cNvPr id="5" name="Diagram 4">
            <a:extLst>
              <a:ext uri="{FF2B5EF4-FFF2-40B4-BE49-F238E27FC236}">
                <a16:creationId xmlns:a16="http://schemas.microsoft.com/office/drawing/2014/main" id="{5092E92F-0764-B663-02E6-1B345794C5F9}"/>
              </a:ext>
            </a:extLst>
          </p:cNvPr>
          <p:cNvGraphicFramePr/>
          <p:nvPr>
            <p:extLst>
              <p:ext uri="{D42A27DB-BD31-4B8C-83A1-F6EECF244321}">
                <p14:modId xmlns:p14="http://schemas.microsoft.com/office/powerpoint/2010/main" val="3492574021"/>
              </p:ext>
            </p:extLst>
          </p:nvPr>
        </p:nvGraphicFramePr>
        <p:xfrm>
          <a:off x="736815" y="1112965"/>
          <a:ext cx="4439478" cy="52414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0A0B43ED-F500-A916-3D5F-B893FB648A93}"/>
              </a:ext>
            </a:extLst>
          </p:cNvPr>
          <p:cNvGrpSpPr/>
          <p:nvPr/>
        </p:nvGrpSpPr>
        <p:grpSpPr>
          <a:xfrm>
            <a:off x="3341093" y="2861409"/>
            <a:ext cx="2375142" cy="651164"/>
            <a:chOff x="541866" y="0"/>
            <a:chExt cx="3051377" cy="907948"/>
          </a:xfrm>
          <a:scene3d>
            <a:camera prst="orthographicFront"/>
            <a:lightRig rig="flat" dir="t"/>
          </a:scene3d>
        </p:grpSpPr>
        <p:sp>
          <p:nvSpPr>
            <p:cNvPr id="7" name="Rounded Rectangle 6">
              <a:extLst>
                <a:ext uri="{FF2B5EF4-FFF2-40B4-BE49-F238E27FC236}">
                  <a16:creationId xmlns:a16="http://schemas.microsoft.com/office/drawing/2014/main" id="{D0AC89F4-B854-5AA4-FC40-97A6D557AC93}"/>
                </a:ext>
              </a:extLst>
            </p:cNvPr>
            <p:cNvSpPr/>
            <p:nvPr/>
          </p:nvSpPr>
          <p:spPr>
            <a:xfrm>
              <a:off x="541866" y="0"/>
              <a:ext cx="3051377" cy="907948"/>
            </a:xfrm>
            <a:prstGeom prst="roundRect">
              <a:avLst>
                <a:gd name="adj" fmla="val 10000"/>
              </a:avLst>
            </a:prstGeom>
            <a:sp3d z="-190500" extrusionH="12700" prstMaterial="plastic">
              <a:bevelT w="50800" h="50800"/>
            </a:sp3d>
          </p:spPr>
          <p:style>
            <a:lnRef idx="1">
              <a:schemeClr val="accent5">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8" name="Rounded Rectangle 4">
              <a:extLst>
                <a:ext uri="{FF2B5EF4-FFF2-40B4-BE49-F238E27FC236}">
                  <a16:creationId xmlns:a16="http://schemas.microsoft.com/office/drawing/2014/main" id="{171163F0-2A06-DF74-BFFA-21D4A85F552C}"/>
                </a:ext>
              </a:extLst>
            </p:cNvPr>
            <p:cNvSpPr txBox="1"/>
            <p:nvPr/>
          </p:nvSpPr>
          <p:spPr>
            <a:xfrm>
              <a:off x="579958" y="38089"/>
              <a:ext cx="2757907" cy="793359"/>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7630" tIns="87630" rIns="87630" bIns="87630" numCol="1" spcCol="1270" anchor="t" anchorCtr="0">
              <a:noAutofit/>
            </a:bodyPr>
            <a:lstStyle/>
            <a:p>
              <a:pPr marL="171450" lvl="1" indent="-171450" algn="l" defTabSz="800100">
                <a:lnSpc>
                  <a:spcPct val="90000"/>
                </a:lnSpc>
                <a:spcBef>
                  <a:spcPct val="0"/>
                </a:spcBef>
                <a:spcAft>
                  <a:spcPct val="15000"/>
                </a:spcAft>
                <a:buChar char="•"/>
              </a:pPr>
              <a:r>
                <a:rPr lang="en-US" sz="1600" kern="1200" dirty="0"/>
                <a:t>%54 average increase in </a:t>
              </a:r>
              <a:r>
                <a:rPr lang="en-US" sz="1600" b="1" kern="1200" dirty="0"/>
                <a:t>academic score </a:t>
              </a:r>
              <a:endParaRPr lang="en-GB" sz="1600" kern="1200" dirty="0"/>
            </a:p>
          </p:txBody>
        </p:sp>
      </p:grpSp>
      <p:sp>
        <p:nvSpPr>
          <p:cNvPr id="9" name="Rounded Rectangle 8">
            <a:extLst>
              <a:ext uri="{FF2B5EF4-FFF2-40B4-BE49-F238E27FC236}">
                <a16:creationId xmlns:a16="http://schemas.microsoft.com/office/drawing/2014/main" id="{8785905D-5B69-EA7F-3CC4-9540A9E7002A}"/>
              </a:ext>
            </a:extLst>
          </p:cNvPr>
          <p:cNvSpPr/>
          <p:nvPr/>
        </p:nvSpPr>
        <p:spPr>
          <a:xfrm>
            <a:off x="367821" y="5230545"/>
            <a:ext cx="2375142" cy="651164"/>
          </a:xfrm>
          <a:prstGeom prst="roundRect">
            <a:avLst>
              <a:gd name="adj" fmla="val 10000"/>
            </a:avLst>
          </a:prstGeom>
          <a:scene3d>
            <a:camera prst="orthographicFront"/>
            <a:lightRig rig="flat" dir="t"/>
          </a:scene3d>
          <a:sp3d z="-190500" extrusionH="12700" prstMaterial="plastic">
            <a:bevelT w="50800" h="50800"/>
          </a:sp3d>
        </p:spPr>
        <p:style>
          <a:lnRef idx="1">
            <a:schemeClr val="accent5">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sp>
      <p:sp>
        <p:nvSpPr>
          <p:cNvPr id="10" name="Rounded Rectangle 4">
            <a:extLst>
              <a:ext uri="{FF2B5EF4-FFF2-40B4-BE49-F238E27FC236}">
                <a16:creationId xmlns:a16="http://schemas.microsoft.com/office/drawing/2014/main" id="{8370C367-EECC-2854-812E-6DA2E825FE92}"/>
              </a:ext>
            </a:extLst>
          </p:cNvPr>
          <p:cNvSpPr txBox="1"/>
          <p:nvPr/>
        </p:nvSpPr>
        <p:spPr>
          <a:xfrm>
            <a:off x="397471" y="5257862"/>
            <a:ext cx="2146710" cy="568983"/>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7630" tIns="87630" rIns="87630" bIns="87630" numCol="1" spcCol="1270" anchor="t" anchorCtr="0">
            <a:noAutofit/>
          </a:bodyPr>
          <a:lstStyle/>
          <a:p>
            <a:pPr marL="171450" lvl="1" indent="-171450" algn="l" defTabSz="800100">
              <a:lnSpc>
                <a:spcPct val="90000"/>
              </a:lnSpc>
              <a:spcBef>
                <a:spcPct val="0"/>
              </a:spcBef>
              <a:spcAft>
                <a:spcPct val="15000"/>
              </a:spcAft>
              <a:buChar char="•"/>
            </a:pPr>
            <a:r>
              <a:rPr lang="en-US" sz="1600" kern="1200" dirty="0"/>
              <a:t>%</a:t>
            </a:r>
            <a:r>
              <a:rPr lang="en-US" sz="1600" dirty="0"/>
              <a:t>15</a:t>
            </a:r>
            <a:r>
              <a:rPr lang="en-US" sz="1600" kern="1200" dirty="0"/>
              <a:t> average increase in </a:t>
            </a:r>
            <a:r>
              <a:rPr lang="en-US" sz="1600" b="1" kern="1200" dirty="0"/>
              <a:t>21</a:t>
            </a:r>
            <a:r>
              <a:rPr lang="en-US" sz="1600" b="1" kern="1200" baseline="30000" dirty="0"/>
              <a:t>st</a:t>
            </a:r>
            <a:r>
              <a:rPr lang="en-US" sz="1600" b="1" kern="1200" dirty="0"/>
              <a:t> century skills</a:t>
            </a:r>
            <a:endParaRPr lang="en-GB" sz="1600" kern="1200" dirty="0"/>
          </a:p>
        </p:txBody>
      </p:sp>
      <p:pic>
        <p:nvPicPr>
          <p:cNvPr id="11" name="Picture 2">
            <a:extLst>
              <a:ext uri="{FF2B5EF4-FFF2-40B4-BE49-F238E27FC236}">
                <a16:creationId xmlns:a16="http://schemas.microsoft.com/office/drawing/2014/main" id="{8A9702C4-4F79-3A3C-2D2B-42A4C17B338C}"/>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a:fillRect/>
          </a:stretch>
        </p:blipFill>
        <p:spPr>
          <a:xfrm>
            <a:off x="3922294" y="1829765"/>
            <a:ext cx="1095672" cy="1085711"/>
          </a:xfrm>
          <a:prstGeom prst="rect">
            <a:avLst/>
          </a:prstGeom>
        </p:spPr>
      </p:pic>
      <p:pic>
        <p:nvPicPr>
          <p:cNvPr id="12" name="Picture 3">
            <a:extLst>
              <a:ext uri="{FF2B5EF4-FFF2-40B4-BE49-F238E27FC236}">
                <a16:creationId xmlns:a16="http://schemas.microsoft.com/office/drawing/2014/main" id="{2E1CE512-D4FB-9EB0-566E-36D632AEE603}"/>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a:fillRect/>
          </a:stretch>
        </p:blipFill>
        <p:spPr>
          <a:xfrm>
            <a:off x="2203584" y="5342506"/>
            <a:ext cx="844355" cy="889646"/>
          </a:xfrm>
          <a:prstGeom prst="rect">
            <a:avLst/>
          </a:prstGeom>
        </p:spPr>
      </p:pic>
      <p:sp>
        <p:nvSpPr>
          <p:cNvPr id="2" name="Rounded Rectangle 4">
            <a:extLst>
              <a:ext uri="{FF2B5EF4-FFF2-40B4-BE49-F238E27FC236}">
                <a16:creationId xmlns:a16="http://schemas.microsoft.com/office/drawing/2014/main" id="{9952226B-7761-D092-CAA0-94C0603532BF}"/>
              </a:ext>
            </a:extLst>
          </p:cNvPr>
          <p:cNvSpPr txBox="1"/>
          <p:nvPr/>
        </p:nvSpPr>
        <p:spPr>
          <a:xfrm>
            <a:off x="1181408" y="6483186"/>
            <a:ext cx="2888706" cy="309024"/>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7630" tIns="87630" rIns="87630" bIns="87630" numCol="1" spcCol="1270" anchor="t" anchorCtr="0">
            <a:noAutofit/>
          </a:bodyPr>
          <a:lstStyle/>
          <a:p>
            <a:pPr marL="0" lvl="1" algn="l" defTabSz="800100">
              <a:lnSpc>
                <a:spcPct val="90000"/>
              </a:lnSpc>
              <a:spcBef>
                <a:spcPct val="0"/>
              </a:spcBef>
              <a:spcAft>
                <a:spcPct val="15000"/>
              </a:spcAft>
            </a:pPr>
            <a:r>
              <a:rPr lang="en-GB" sz="1600" kern="1200" dirty="0"/>
              <a:t>*</a:t>
            </a:r>
          </a:p>
        </p:txBody>
      </p:sp>
      <p:pic>
        <p:nvPicPr>
          <p:cNvPr id="20" name="Picture 19">
            <a:extLst>
              <a:ext uri="{FF2B5EF4-FFF2-40B4-BE49-F238E27FC236}">
                <a16:creationId xmlns:a16="http://schemas.microsoft.com/office/drawing/2014/main" id="{0873F4A0-59F3-4E87-A84D-977D34A52E6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389275" y="105803"/>
            <a:ext cx="4876521" cy="3246409"/>
          </a:xfrm>
          <a:prstGeom prst="rect">
            <a:avLst/>
          </a:prstGeom>
        </p:spPr>
      </p:pic>
      <p:pic>
        <p:nvPicPr>
          <p:cNvPr id="22" name="Picture 21">
            <a:extLst>
              <a:ext uri="{FF2B5EF4-FFF2-40B4-BE49-F238E27FC236}">
                <a16:creationId xmlns:a16="http://schemas.microsoft.com/office/drawing/2014/main" id="{2A96FC7B-8EB1-CA73-A155-0A195FBD029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389275" y="3386685"/>
            <a:ext cx="4876520" cy="3251013"/>
          </a:xfrm>
          <a:prstGeom prst="rect">
            <a:avLst/>
          </a:prstGeom>
        </p:spPr>
      </p:pic>
    </p:spTree>
    <p:extLst>
      <p:ext uri="{BB962C8B-B14F-4D97-AF65-F5344CB8AC3E}">
        <p14:creationId xmlns:p14="http://schemas.microsoft.com/office/powerpoint/2010/main" val="22182074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utoShape 34"/>
          <p:cNvSpPr/>
          <p:nvPr/>
        </p:nvSpPr>
        <p:spPr>
          <a:xfrm rot="-5399999">
            <a:off x="7233636" y="5080395"/>
            <a:ext cx="443660" cy="0"/>
          </a:xfrm>
          <a:prstGeom prst="line">
            <a:avLst/>
          </a:prstGeom>
          <a:ln w="47625" cap="flat">
            <a:solidFill>
              <a:srgbClr val="2B2A2A"/>
            </a:solidFill>
            <a:prstDash val="solid"/>
            <a:headEnd type="none" w="sm" len="sm"/>
            <a:tailEnd type="none" w="sm" len="sm"/>
          </a:ln>
        </p:spPr>
      </p:sp>
      <p:sp>
        <p:nvSpPr>
          <p:cNvPr id="44" name="AutoShape 32">
            <a:extLst>
              <a:ext uri="{FF2B5EF4-FFF2-40B4-BE49-F238E27FC236}">
                <a16:creationId xmlns:a16="http://schemas.microsoft.com/office/drawing/2014/main" id="{004CAE0B-D4AE-508D-91F0-B337FA3383DC}"/>
              </a:ext>
            </a:extLst>
          </p:cNvPr>
          <p:cNvSpPr/>
          <p:nvPr/>
        </p:nvSpPr>
        <p:spPr>
          <a:xfrm rot="-5399999">
            <a:off x="1603675" y="5496247"/>
            <a:ext cx="443660" cy="0"/>
          </a:xfrm>
          <a:prstGeom prst="line">
            <a:avLst/>
          </a:prstGeom>
          <a:ln w="47625" cap="flat">
            <a:solidFill>
              <a:srgbClr val="2B2A2A"/>
            </a:solidFill>
            <a:prstDash val="solid"/>
            <a:headEnd type="none" w="sm" len="sm"/>
            <a:tailEnd type="none" w="sm" len="sm"/>
          </a:ln>
        </p:spPr>
      </p:sp>
      <p:sp>
        <p:nvSpPr>
          <p:cNvPr id="32" name="AutoShape 32"/>
          <p:cNvSpPr/>
          <p:nvPr/>
        </p:nvSpPr>
        <p:spPr>
          <a:xfrm rot="-5399999">
            <a:off x="1614929" y="4733663"/>
            <a:ext cx="443660" cy="0"/>
          </a:xfrm>
          <a:prstGeom prst="line">
            <a:avLst/>
          </a:prstGeom>
          <a:ln w="47625" cap="flat">
            <a:solidFill>
              <a:srgbClr val="2B2A2A"/>
            </a:solidFill>
            <a:prstDash val="solid"/>
            <a:headEnd type="none" w="sm" len="sm"/>
            <a:tailEnd type="none" w="sm" len="sm"/>
          </a:ln>
        </p:spPr>
      </p:sp>
      <p:sp>
        <p:nvSpPr>
          <p:cNvPr id="21" name="AutoShape 32">
            <a:extLst>
              <a:ext uri="{FF2B5EF4-FFF2-40B4-BE49-F238E27FC236}">
                <a16:creationId xmlns:a16="http://schemas.microsoft.com/office/drawing/2014/main" id="{51E8356F-9C4C-2EC0-317E-0CB118D771A8}"/>
              </a:ext>
            </a:extLst>
          </p:cNvPr>
          <p:cNvSpPr/>
          <p:nvPr/>
        </p:nvSpPr>
        <p:spPr>
          <a:xfrm rot="-5399999">
            <a:off x="4452517" y="6111198"/>
            <a:ext cx="443660" cy="0"/>
          </a:xfrm>
          <a:prstGeom prst="line">
            <a:avLst/>
          </a:prstGeom>
          <a:ln w="47625" cap="flat">
            <a:solidFill>
              <a:srgbClr val="2B2A2A"/>
            </a:solidFill>
            <a:prstDash val="solid"/>
            <a:headEnd type="none" w="sm" len="sm"/>
            <a:tailEnd type="none" w="sm" len="sm"/>
          </a:ln>
        </p:spPr>
      </p:sp>
      <p:sp>
        <p:nvSpPr>
          <p:cNvPr id="33" name="AutoShape 33"/>
          <p:cNvSpPr/>
          <p:nvPr/>
        </p:nvSpPr>
        <p:spPr>
          <a:xfrm rot="-5399999">
            <a:off x="4454789" y="5255877"/>
            <a:ext cx="443660" cy="0"/>
          </a:xfrm>
          <a:prstGeom prst="line">
            <a:avLst/>
          </a:prstGeom>
          <a:ln w="47625" cap="flat">
            <a:solidFill>
              <a:srgbClr val="2B2A2A"/>
            </a:solidFill>
            <a:prstDash val="solid"/>
            <a:headEnd type="none" w="sm" len="sm"/>
            <a:tailEnd type="none" w="sm" len="sm"/>
          </a:ln>
        </p:spPr>
      </p:sp>
      <p:grpSp>
        <p:nvGrpSpPr>
          <p:cNvPr id="4" name="Group 4"/>
          <p:cNvGrpSpPr/>
          <p:nvPr/>
        </p:nvGrpSpPr>
        <p:grpSpPr>
          <a:xfrm>
            <a:off x="712506" y="2595439"/>
            <a:ext cx="2467680" cy="1916394"/>
            <a:chOff x="0" y="0"/>
            <a:chExt cx="2979669" cy="1868665"/>
          </a:xfrm>
        </p:grpSpPr>
        <p:sp>
          <p:nvSpPr>
            <p:cNvPr id="5" name="Freeform 5"/>
            <p:cNvSpPr/>
            <p:nvPr/>
          </p:nvSpPr>
          <p:spPr>
            <a:xfrm>
              <a:off x="0" y="0"/>
              <a:ext cx="2979669" cy="1868665"/>
            </a:xfrm>
            <a:custGeom>
              <a:avLst/>
              <a:gdLst/>
              <a:ahLst/>
              <a:cxnLst/>
              <a:rect l="l" t="t" r="r" b="b"/>
              <a:pathLst>
                <a:path w="2979669" h="1868665">
                  <a:moveTo>
                    <a:pt x="2855209" y="1868665"/>
                  </a:moveTo>
                  <a:lnTo>
                    <a:pt x="124460" y="1868665"/>
                  </a:lnTo>
                  <a:cubicBezTo>
                    <a:pt x="55880" y="1868665"/>
                    <a:pt x="0" y="1812785"/>
                    <a:pt x="0" y="1744205"/>
                  </a:cubicBezTo>
                  <a:lnTo>
                    <a:pt x="0" y="124460"/>
                  </a:lnTo>
                  <a:cubicBezTo>
                    <a:pt x="0" y="55880"/>
                    <a:pt x="55880" y="0"/>
                    <a:pt x="124460" y="0"/>
                  </a:cubicBezTo>
                  <a:lnTo>
                    <a:pt x="2855209" y="0"/>
                  </a:lnTo>
                  <a:cubicBezTo>
                    <a:pt x="2923789" y="0"/>
                    <a:pt x="2979669" y="55880"/>
                    <a:pt x="2979669" y="124460"/>
                  </a:cubicBezTo>
                  <a:lnTo>
                    <a:pt x="2979669" y="1744205"/>
                  </a:lnTo>
                  <a:cubicBezTo>
                    <a:pt x="2979669" y="1812785"/>
                    <a:pt x="2923789" y="1868665"/>
                    <a:pt x="2855209" y="1868665"/>
                  </a:cubicBezTo>
                  <a:close/>
                </a:path>
              </a:pathLst>
            </a:custGeom>
            <a:solidFill>
              <a:srgbClr val="F4F4F3"/>
            </a:solidFill>
          </p:spPr>
        </p:sp>
      </p:grpSp>
      <p:grpSp>
        <p:nvGrpSpPr>
          <p:cNvPr id="9" name="Group 9"/>
          <p:cNvGrpSpPr/>
          <p:nvPr/>
        </p:nvGrpSpPr>
        <p:grpSpPr>
          <a:xfrm>
            <a:off x="712506" y="4838560"/>
            <a:ext cx="2158743" cy="519596"/>
            <a:chOff x="-169934" y="1"/>
            <a:chExt cx="2158703" cy="519586"/>
          </a:xfrm>
        </p:grpSpPr>
        <p:sp>
          <p:nvSpPr>
            <p:cNvPr id="10" name="Freeform 10"/>
            <p:cNvSpPr/>
            <p:nvPr/>
          </p:nvSpPr>
          <p:spPr>
            <a:xfrm>
              <a:off x="-169934" y="1"/>
              <a:ext cx="2158703" cy="519586"/>
            </a:xfrm>
            <a:custGeom>
              <a:avLst/>
              <a:gdLst/>
              <a:ahLst/>
              <a:cxnLst/>
              <a:rect l="l" t="t" r="r" b="b"/>
              <a:pathLst>
                <a:path w="1913890" h="660400">
                  <a:moveTo>
                    <a:pt x="1789430" y="660400"/>
                  </a:moveTo>
                  <a:lnTo>
                    <a:pt x="124460" y="660400"/>
                  </a:lnTo>
                  <a:cubicBezTo>
                    <a:pt x="55880" y="660400"/>
                    <a:pt x="0" y="604520"/>
                    <a:pt x="0" y="535940"/>
                  </a:cubicBezTo>
                  <a:lnTo>
                    <a:pt x="0" y="124460"/>
                  </a:lnTo>
                  <a:cubicBezTo>
                    <a:pt x="0" y="55880"/>
                    <a:pt x="55880" y="0"/>
                    <a:pt x="124460" y="0"/>
                  </a:cubicBezTo>
                  <a:lnTo>
                    <a:pt x="1789430" y="0"/>
                  </a:lnTo>
                  <a:cubicBezTo>
                    <a:pt x="1858010" y="0"/>
                    <a:pt x="1913890" y="55880"/>
                    <a:pt x="1913890" y="124460"/>
                  </a:cubicBezTo>
                  <a:lnTo>
                    <a:pt x="1913890" y="535940"/>
                  </a:lnTo>
                  <a:cubicBezTo>
                    <a:pt x="1913890" y="604520"/>
                    <a:pt x="1858010" y="660400"/>
                    <a:pt x="1789430" y="660400"/>
                  </a:cubicBezTo>
                  <a:close/>
                </a:path>
              </a:pathLst>
            </a:custGeom>
            <a:solidFill>
              <a:srgbClr val="FEE134"/>
            </a:solidFill>
          </p:spPr>
          <p:txBody>
            <a:bodyPr/>
            <a:lstStyle/>
            <a:p>
              <a:pPr algn="ctr"/>
              <a:r>
                <a:rPr lang="en-GB" sz="1300" b="1" dirty="0"/>
                <a:t>Math, 21st century skills (communication)</a:t>
              </a:r>
              <a:endParaRPr lang="en-QA" sz="1300" b="1" dirty="0"/>
            </a:p>
          </p:txBody>
        </p:sp>
      </p:grpSp>
      <p:grpSp>
        <p:nvGrpSpPr>
          <p:cNvPr id="11" name="Group 11"/>
          <p:cNvGrpSpPr/>
          <p:nvPr/>
        </p:nvGrpSpPr>
        <p:grpSpPr>
          <a:xfrm>
            <a:off x="3349496" y="3198522"/>
            <a:ext cx="2678463" cy="2004971"/>
            <a:chOff x="0" y="0"/>
            <a:chExt cx="2979669" cy="1868665"/>
          </a:xfrm>
        </p:grpSpPr>
        <p:sp>
          <p:nvSpPr>
            <p:cNvPr id="12" name="Freeform 12"/>
            <p:cNvSpPr/>
            <p:nvPr/>
          </p:nvSpPr>
          <p:spPr>
            <a:xfrm>
              <a:off x="0" y="0"/>
              <a:ext cx="2979669" cy="1868665"/>
            </a:xfrm>
            <a:custGeom>
              <a:avLst/>
              <a:gdLst/>
              <a:ahLst/>
              <a:cxnLst/>
              <a:rect l="l" t="t" r="r" b="b"/>
              <a:pathLst>
                <a:path w="2979669" h="1868665">
                  <a:moveTo>
                    <a:pt x="2855209" y="1868665"/>
                  </a:moveTo>
                  <a:lnTo>
                    <a:pt x="124460" y="1868665"/>
                  </a:lnTo>
                  <a:cubicBezTo>
                    <a:pt x="55880" y="1868665"/>
                    <a:pt x="0" y="1812785"/>
                    <a:pt x="0" y="1744205"/>
                  </a:cubicBezTo>
                  <a:lnTo>
                    <a:pt x="0" y="124460"/>
                  </a:lnTo>
                  <a:cubicBezTo>
                    <a:pt x="0" y="55880"/>
                    <a:pt x="55880" y="0"/>
                    <a:pt x="124460" y="0"/>
                  </a:cubicBezTo>
                  <a:lnTo>
                    <a:pt x="2855209" y="0"/>
                  </a:lnTo>
                  <a:cubicBezTo>
                    <a:pt x="2923789" y="0"/>
                    <a:pt x="2979669" y="55880"/>
                    <a:pt x="2979669" y="124460"/>
                  </a:cubicBezTo>
                  <a:lnTo>
                    <a:pt x="2979669" y="1744205"/>
                  </a:lnTo>
                  <a:cubicBezTo>
                    <a:pt x="2979669" y="1812785"/>
                    <a:pt x="2923789" y="1868665"/>
                    <a:pt x="2855209" y="1868665"/>
                  </a:cubicBezTo>
                  <a:close/>
                </a:path>
              </a:pathLst>
            </a:custGeom>
            <a:solidFill>
              <a:srgbClr val="F4F4F3"/>
            </a:solidFill>
          </p:spPr>
        </p:sp>
      </p:grpSp>
      <p:grpSp>
        <p:nvGrpSpPr>
          <p:cNvPr id="13" name="Group 13"/>
          <p:cNvGrpSpPr/>
          <p:nvPr/>
        </p:nvGrpSpPr>
        <p:grpSpPr>
          <a:xfrm>
            <a:off x="4174661" y="2301086"/>
            <a:ext cx="1028700" cy="1028700"/>
            <a:chOff x="0" y="0"/>
            <a:chExt cx="812800" cy="812800"/>
          </a:xfrm>
        </p:grpSpPr>
        <p:sp>
          <p:nvSpPr>
            <p:cNvPr id="14" name="Freeform 14"/>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B2A2A"/>
            </a:solidFill>
          </p:spPr>
        </p:sp>
        <p:sp>
          <p:nvSpPr>
            <p:cNvPr id="15" name="TextBox 15"/>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a:p>
          </p:txBody>
        </p:sp>
      </p:grpSp>
      <p:grpSp>
        <p:nvGrpSpPr>
          <p:cNvPr id="16" name="Group 16"/>
          <p:cNvGrpSpPr/>
          <p:nvPr/>
        </p:nvGrpSpPr>
        <p:grpSpPr>
          <a:xfrm>
            <a:off x="3704722" y="5414239"/>
            <a:ext cx="1913926" cy="660413"/>
            <a:chOff x="0" y="0"/>
            <a:chExt cx="1913890" cy="660400"/>
          </a:xfrm>
        </p:grpSpPr>
        <p:sp>
          <p:nvSpPr>
            <p:cNvPr id="17" name="Freeform 17"/>
            <p:cNvSpPr/>
            <p:nvPr/>
          </p:nvSpPr>
          <p:spPr>
            <a:xfrm>
              <a:off x="0" y="0"/>
              <a:ext cx="1913890" cy="660400"/>
            </a:xfrm>
            <a:custGeom>
              <a:avLst/>
              <a:gdLst/>
              <a:ahLst/>
              <a:cxnLst/>
              <a:rect l="l" t="t" r="r" b="b"/>
              <a:pathLst>
                <a:path w="1913890" h="660400">
                  <a:moveTo>
                    <a:pt x="1789430" y="660400"/>
                  </a:moveTo>
                  <a:lnTo>
                    <a:pt x="124460" y="660400"/>
                  </a:lnTo>
                  <a:cubicBezTo>
                    <a:pt x="55880" y="660400"/>
                    <a:pt x="0" y="604520"/>
                    <a:pt x="0" y="535940"/>
                  </a:cubicBezTo>
                  <a:lnTo>
                    <a:pt x="0" y="124460"/>
                  </a:lnTo>
                  <a:cubicBezTo>
                    <a:pt x="0" y="55880"/>
                    <a:pt x="55880" y="0"/>
                    <a:pt x="124460" y="0"/>
                  </a:cubicBezTo>
                  <a:lnTo>
                    <a:pt x="1789430" y="0"/>
                  </a:lnTo>
                  <a:cubicBezTo>
                    <a:pt x="1858010" y="0"/>
                    <a:pt x="1913890" y="55880"/>
                    <a:pt x="1913890" y="124460"/>
                  </a:cubicBezTo>
                  <a:lnTo>
                    <a:pt x="1913890" y="535940"/>
                  </a:lnTo>
                  <a:cubicBezTo>
                    <a:pt x="1913890" y="604520"/>
                    <a:pt x="1858010" y="660400"/>
                    <a:pt x="1789430" y="660400"/>
                  </a:cubicBezTo>
                  <a:close/>
                </a:path>
              </a:pathLst>
            </a:custGeom>
            <a:solidFill>
              <a:srgbClr val="2B2A2A"/>
            </a:solidFill>
          </p:spPr>
        </p:sp>
      </p:grpSp>
      <p:grpSp>
        <p:nvGrpSpPr>
          <p:cNvPr id="18" name="Group 18"/>
          <p:cNvGrpSpPr/>
          <p:nvPr/>
        </p:nvGrpSpPr>
        <p:grpSpPr>
          <a:xfrm>
            <a:off x="6174601" y="2449377"/>
            <a:ext cx="2678463" cy="2531075"/>
            <a:chOff x="0" y="0"/>
            <a:chExt cx="2979669" cy="1868665"/>
          </a:xfrm>
        </p:grpSpPr>
        <p:sp>
          <p:nvSpPr>
            <p:cNvPr id="19" name="Freeform 19"/>
            <p:cNvSpPr/>
            <p:nvPr/>
          </p:nvSpPr>
          <p:spPr>
            <a:xfrm>
              <a:off x="0" y="0"/>
              <a:ext cx="2979669" cy="1868665"/>
            </a:xfrm>
            <a:custGeom>
              <a:avLst/>
              <a:gdLst/>
              <a:ahLst/>
              <a:cxnLst/>
              <a:rect l="l" t="t" r="r" b="b"/>
              <a:pathLst>
                <a:path w="2979669" h="1868665">
                  <a:moveTo>
                    <a:pt x="2855209" y="1868665"/>
                  </a:moveTo>
                  <a:lnTo>
                    <a:pt x="124460" y="1868665"/>
                  </a:lnTo>
                  <a:cubicBezTo>
                    <a:pt x="55880" y="1868665"/>
                    <a:pt x="0" y="1812785"/>
                    <a:pt x="0" y="1744205"/>
                  </a:cubicBezTo>
                  <a:lnTo>
                    <a:pt x="0" y="124460"/>
                  </a:lnTo>
                  <a:cubicBezTo>
                    <a:pt x="0" y="55880"/>
                    <a:pt x="55880" y="0"/>
                    <a:pt x="124460" y="0"/>
                  </a:cubicBezTo>
                  <a:lnTo>
                    <a:pt x="2855209" y="0"/>
                  </a:lnTo>
                  <a:cubicBezTo>
                    <a:pt x="2923789" y="0"/>
                    <a:pt x="2979669" y="55880"/>
                    <a:pt x="2979669" y="124460"/>
                  </a:cubicBezTo>
                  <a:lnTo>
                    <a:pt x="2979669" y="1744205"/>
                  </a:lnTo>
                  <a:cubicBezTo>
                    <a:pt x="2979669" y="1812785"/>
                    <a:pt x="2923789" y="1868665"/>
                    <a:pt x="2855209" y="1868665"/>
                  </a:cubicBezTo>
                  <a:close/>
                </a:path>
              </a:pathLst>
            </a:custGeom>
            <a:solidFill>
              <a:srgbClr val="F4F4F3"/>
            </a:solidFill>
          </p:spPr>
        </p:sp>
      </p:grpSp>
      <p:grpSp>
        <p:nvGrpSpPr>
          <p:cNvPr id="23" name="Group 23"/>
          <p:cNvGrpSpPr/>
          <p:nvPr/>
        </p:nvGrpSpPr>
        <p:grpSpPr>
          <a:xfrm>
            <a:off x="6347173" y="5234282"/>
            <a:ext cx="2461753" cy="1051448"/>
            <a:chOff x="0" y="0"/>
            <a:chExt cx="1913890" cy="660400"/>
          </a:xfrm>
        </p:grpSpPr>
        <p:sp>
          <p:nvSpPr>
            <p:cNvPr id="24" name="Freeform 24"/>
            <p:cNvSpPr/>
            <p:nvPr/>
          </p:nvSpPr>
          <p:spPr>
            <a:xfrm>
              <a:off x="0" y="0"/>
              <a:ext cx="1913890" cy="660400"/>
            </a:xfrm>
            <a:custGeom>
              <a:avLst/>
              <a:gdLst/>
              <a:ahLst/>
              <a:cxnLst/>
              <a:rect l="l" t="t" r="r" b="b"/>
              <a:pathLst>
                <a:path w="1913890" h="660400">
                  <a:moveTo>
                    <a:pt x="1789430" y="660400"/>
                  </a:moveTo>
                  <a:lnTo>
                    <a:pt x="124460" y="660400"/>
                  </a:lnTo>
                  <a:cubicBezTo>
                    <a:pt x="55880" y="660400"/>
                    <a:pt x="0" y="604520"/>
                    <a:pt x="0" y="535940"/>
                  </a:cubicBezTo>
                  <a:lnTo>
                    <a:pt x="0" y="124460"/>
                  </a:lnTo>
                  <a:cubicBezTo>
                    <a:pt x="0" y="55880"/>
                    <a:pt x="55880" y="0"/>
                    <a:pt x="124460" y="0"/>
                  </a:cubicBezTo>
                  <a:lnTo>
                    <a:pt x="1789430" y="0"/>
                  </a:lnTo>
                  <a:cubicBezTo>
                    <a:pt x="1858010" y="0"/>
                    <a:pt x="1913890" y="55880"/>
                    <a:pt x="1913890" y="124460"/>
                  </a:cubicBezTo>
                  <a:lnTo>
                    <a:pt x="1913890" y="535940"/>
                  </a:lnTo>
                  <a:cubicBezTo>
                    <a:pt x="1913890" y="604520"/>
                    <a:pt x="1858010" y="660400"/>
                    <a:pt x="1789430" y="660400"/>
                  </a:cubicBezTo>
                  <a:close/>
                </a:path>
              </a:pathLst>
            </a:custGeom>
            <a:solidFill>
              <a:srgbClr val="FEE134"/>
            </a:solidFill>
          </p:spPr>
        </p:sp>
      </p:grpSp>
      <p:grpSp>
        <p:nvGrpSpPr>
          <p:cNvPr id="25" name="Group 25"/>
          <p:cNvGrpSpPr/>
          <p:nvPr/>
        </p:nvGrpSpPr>
        <p:grpSpPr>
          <a:xfrm>
            <a:off x="9005622" y="3232151"/>
            <a:ext cx="2678463" cy="1679767"/>
            <a:chOff x="0" y="0"/>
            <a:chExt cx="2979669" cy="1868665"/>
          </a:xfrm>
        </p:grpSpPr>
        <p:sp>
          <p:nvSpPr>
            <p:cNvPr id="26" name="Freeform 26"/>
            <p:cNvSpPr/>
            <p:nvPr/>
          </p:nvSpPr>
          <p:spPr>
            <a:xfrm>
              <a:off x="0" y="0"/>
              <a:ext cx="2979669" cy="1868665"/>
            </a:xfrm>
            <a:custGeom>
              <a:avLst/>
              <a:gdLst/>
              <a:ahLst/>
              <a:cxnLst/>
              <a:rect l="l" t="t" r="r" b="b"/>
              <a:pathLst>
                <a:path w="2979669" h="1868665">
                  <a:moveTo>
                    <a:pt x="2855209" y="1868665"/>
                  </a:moveTo>
                  <a:lnTo>
                    <a:pt x="124460" y="1868665"/>
                  </a:lnTo>
                  <a:cubicBezTo>
                    <a:pt x="55880" y="1868665"/>
                    <a:pt x="0" y="1812785"/>
                    <a:pt x="0" y="1744205"/>
                  </a:cubicBezTo>
                  <a:lnTo>
                    <a:pt x="0" y="124460"/>
                  </a:lnTo>
                  <a:cubicBezTo>
                    <a:pt x="0" y="55880"/>
                    <a:pt x="55880" y="0"/>
                    <a:pt x="124460" y="0"/>
                  </a:cubicBezTo>
                  <a:lnTo>
                    <a:pt x="2855209" y="0"/>
                  </a:lnTo>
                  <a:cubicBezTo>
                    <a:pt x="2923789" y="0"/>
                    <a:pt x="2979669" y="55880"/>
                    <a:pt x="2979669" y="124460"/>
                  </a:cubicBezTo>
                  <a:lnTo>
                    <a:pt x="2979669" y="1744205"/>
                  </a:lnTo>
                  <a:cubicBezTo>
                    <a:pt x="2979669" y="1812785"/>
                    <a:pt x="2923789" y="1868665"/>
                    <a:pt x="2855209" y="1868665"/>
                  </a:cubicBezTo>
                  <a:close/>
                </a:path>
              </a:pathLst>
            </a:custGeom>
            <a:solidFill>
              <a:srgbClr val="F4F4F3"/>
            </a:solidFill>
          </p:spPr>
        </p:sp>
      </p:grpSp>
      <p:grpSp>
        <p:nvGrpSpPr>
          <p:cNvPr id="27" name="Group 27"/>
          <p:cNvGrpSpPr/>
          <p:nvPr/>
        </p:nvGrpSpPr>
        <p:grpSpPr>
          <a:xfrm>
            <a:off x="9820390" y="2526466"/>
            <a:ext cx="1028700" cy="1028700"/>
            <a:chOff x="0" y="0"/>
            <a:chExt cx="812800" cy="812800"/>
          </a:xfrm>
        </p:grpSpPr>
        <p:sp>
          <p:nvSpPr>
            <p:cNvPr id="28" name="Freeform 28"/>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B2A2A"/>
            </a:solidFill>
          </p:spPr>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a:p>
          </p:txBody>
        </p:sp>
      </p:grpSp>
      <p:grpSp>
        <p:nvGrpSpPr>
          <p:cNvPr id="30" name="Group 30"/>
          <p:cNvGrpSpPr/>
          <p:nvPr/>
        </p:nvGrpSpPr>
        <p:grpSpPr>
          <a:xfrm>
            <a:off x="9166255" y="5192264"/>
            <a:ext cx="2404220" cy="816464"/>
            <a:chOff x="0" y="0"/>
            <a:chExt cx="1913890" cy="660400"/>
          </a:xfrm>
        </p:grpSpPr>
        <p:sp>
          <p:nvSpPr>
            <p:cNvPr id="31" name="Freeform 31"/>
            <p:cNvSpPr/>
            <p:nvPr/>
          </p:nvSpPr>
          <p:spPr>
            <a:xfrm>
              <a:off x="0" y="0"/>
              <a:ext cx="1913890" cy="660400"/>
            </a:xfrm>
            <a:custGeom>
              <a:avLst/>
              <a:gdLst/>
              <a:ahLst/>
              <a:cxnLst/>
              <a:rect l="l" t="t" r="r" b="b"/>
              <a:pathLst>
                <a:path w="1913890" h="660400">
                  <a:moveTo>
                    <a:pt x="1789430" y="660400"/>
                  </a:moveTo>
                  <a:lnTo>
                    <a:pt x="124460" y="660400"/>
                  </a:lnTo>
                  <a:cubicBezTo>
                    <a:pt x="55880" y="660400"/>
                    <a:pt x="0" y="604520"/>
                    <a:pt x="0" y="535940"/>
                  </a:cubicBezTo>
                  <a:lnTo>
                    <a:pt x="0" y="124460"/>
                  </a:lnTo>
                  <a:cubicBezTo>
                    <a:pt x="0" y="55880"/>
                    <a:pt x="55880" y="0"/>
                    <a:pt x="124460" y="0"/>
                  </a:cubicBezTo>
                  <a:lnTo>
                    <a:pt x="1789430" y="0"/>
                  </a:lnTo>
                  <a:cubicBezTo>
                    <a:pt x="1858010" y="0"/>
                    <a:pt x="1913890" y="55880"/>
                    <a:pt x="1913890" y="124460"/>
                  </a:cubicBezTo>
                  <a:lnTo>
                    <a:pt x="1913890" y="535940"/>
                  </a:lnTo>
                  <a:cubicBezTo>
                    <a:pt x="1913890" y="604520"/>
                    <a:pt x="1858010" y="660400"/>
                    <a:pt x="1789430" y="660400"/>
                  </a:cubicBezTo>
                  <a:close/>
                </a:path>
              </a:pathLst>
            </a:custGeom>
            <a:solidFill>
              <a:srgbClr val="2B2A2A"/>
            </a:solidFill>
          </p:spPr>
        </p:sp>
      </p:grpSp>
      <p:sp>
        <p:nvSpPr>
          <p:cNvPr id="35" name="AutoShape 35"/>
          <p:cNvSpPr/>
          <p:nvPr/>
        </p:nvSpPr>
        <p:spPr>
          <a:xfrm rot="-5399999">
            <a:off x="10129216" y="5123832"/>
            <a:ext cx="443660" cy="0"/>
          </a:xfrm>
          <a:prstGeom prst="line">
            <a:avLst/>
          </a:prstGeom>
          <a:ln w="47625" cap="flat">
            <a:solidFill>
              <a:srgbClr val="2B2A2A"/>
            </a:solidFill>
            <a:prstDash val="solid"/>
            <a:headEnd type="none" w="sm" len="sm"/>
            <a:tailEnd type="none" w="sm" len="sm"/>
          </a:ln>
        </p:spPr>
      </p:sp>
      <p:pic>
        <p:nvPicPr>
          <p:cNvPr id="38" name="Picture 38"/>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237718" y="1"/>
            <a:ext cx="1153329" cy="461331"/>
          </a:xfrm>
          <a:prstGeom prst="rect">
            <a:avLst/>
          </a:prstGeom>
        </p:spPr>
      </p:pic>
      <p:pic>
        <p:nvPicPr>
          <p:cNvPr id="40" name="Picture 40"/>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1479494" y="6548094"/>
            <a:ext cx="1153329" cy="461331"/>
          </a:xfrm>
          <a:prstGeom prst="rect">
            <a:avLst/>
          </a:prstGeom>
        </p:spPr>
      </p:pic>
      <p:pic>
        <p:nvPicPr>
          <p:cNvPr id="41" name="Picture 41"/>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1615336" y="1"/>
            <a:ext cx="1153329" cy="461331"/>
          </a:xfrm>
          <a:prstGeom prst="rect">
            <a:avLst/>
          </a:prstGeom>
        </p:spPr>
      </p:pic>
      <p:pic>
        <p:nvPicPr>
          <p:cNvPr id="42" name="Picture 42"/>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76664" y="6548094"/>
            <a:ext cx="1153329" cy="461331"/>
          </a:xfrm>
          <a:prstGeom prst="rect">
            <a:avLst/>
          </a:prstGeom>
        </p:spPr>
      </p:pic>
      <p:sp>
        <p:nvSpPr>
          <p:cNvPr id="47" name="TextBox 47"/>
          <p:cNvSpPr txBox="1"/>
          <p:nvPr/>
        </p:nvSpPr>
        <p:spPr>
          <a:xfrm>
            <a:off x="3488283" y="236226"/>
            <a:ext cx="5149069" cy="446917"/>
          </a:xfrm>
          <a:prstGeom prst="rect">
            <a:avLst/>
          </a:prstGeom>
        </p:spPr>
        <p:txBody>
          <a:bodyPr lIns="0" tIns="0" rIns="0" bIns="0" rtlCol="0" anchor="t">
            <a:spAutoFit/>
          </a:bodyPr>
          <a:lstStyle/>
          <a:p>
            <a:pPr algn="ctr">
              <a:lnSpc>
                <a:spcPts val="3920"/>
              </a:lnSpc>
            </a:pPr>
            <a:r>
              <a:rPr lang="en-US" sz="2800" b="1" spc="89" dirty="0">
                <a:solidFill>
                  <a:schemeClr val="accent1"/>
                </a:solidFill>
                <a:latin typeface="Barlow Bold"/>
              </a:rPr>
              <a:t>What does PBL look like?</a:t>
            </a:r>
          </a:p>
        </p:txBody>
      </p:sp>
      <p:sp>
        <p:nvSpPr>
          <p:cNvPr id="48" name="TextBox 48"/>
          <p:cNvSpPr txBox="1"/>
          <p:nvPr/>
        </p:nvSpPr>
        <p:spPr>
          <a:xfrm>
            <a:off x="2353009" y="777317"/>
            <a:ext cx="7758130" cy="553998"/>
          </a:xfrm>
          <a:custGeom>
            <a:avLst/>
            <a:gdLst>
              <a:gd name="csX0" fmla="*/ 0 w 7758130"/>
              <a:gd name="csY0" fmla="*/ 0 h 553998"/>
              <a:gd name="csX1" fmla="*/ 7758130 w 7758130"/>
              <a:gd name="csY1" fmla="*/ 0 h 553998"/>
              <a:gd name="csX2" fmla="*/ 7758130 w 7758130"/>
              <a:gd name="csY2" fmla="*/ 553998 h 553998"/>
              <a:gd name="csX3" fmla="*/ 0 w 7758130"/>
              <a:gd name="csY3" fmla="*/ 553998 h 553998"/>
              <a:gd name="csX4" fmla="*/ 0 w 7758130"/>
              <a:gd name="csY4" fmla="*/ 0 h 553998"/>
            </a:gdLst>
            <a:ahLst/>
            <a:cxnLst>
              <a:cxn ang="0">
                <a:pos x="csX0" y="csY0"/>
              </a:cxn>
              <a:cxn ang="0">
                <a:pos x="csX1" y="csY1"/>
              </a:cxn>
              <a:cxn ang="0">
                <a:pos x="csX2" y="csY2"/>
              </a:cxn>
              <a:cxn ang="0">
                <a:pos x="csX3" y="csY3"/>
              </a:cxn>
              <a:cxn ang="0">
                <a:pos x="csX4" y="csY4"/>
              </a:cxn>
            </a:cxnLst>
            <a:rect l="l" t="t" r="r" b="b"/>
            <a:pathLst>
              <a:path w="7758130" h="553998" fill="none" extrusionOk="0">
                <a:moveTo>
                  <a:pt x="0" y="0"/>
                </a:moveTo>
                <a:cubicBezTo>
                  <a:pt x="814744" y="-49533"/>
                  <a:pt x="6651455" y="-14809"/>
                  <a:pt x="7758130" y="0"/>
                </a:cubicBezTo>
                <a:cubicBezTo>
                  <a:pt x="7797531" y="161162"/>
                  <a:pt x="7780767" y="471553"/>
                  <a:pt x="7758130" y="553998"/>
                </a:cubicBezTo>
                <a:cubicBezTo>
                  <a:pt x="5876737" y="505767"/>
                  <a:pt x="1004795" y="638453"/>
                  <a:pt x="0" y="553998"/>
                </a:cubicBezTo>
                <a:cubicBezTo>
                  <a:pt x="38224" y="425128"/>
                  <a:pt x="10580" y="128561"/>
                  <a:pt x="0" y="0"/>
                </a:cubicBezTo>
                <a:close/>
              </a:path>
              <a:path w="7758130" h="553998" stroke="0" extrusionOk="0">
                <a:moveTo>
                  <a:pt x="0" y="0"/>
                </a:moveTo>
                <a:cubicBezTo>
                  <a:pt x="3719839" y="118645"/>
                  <a:pt x="5599824" y="116012"/>
                  <a:pt x="7758130" y="0"/>
                </a:cubicBezTo>
                <a:cubicBezTo>
                  <a:pt x="7785186" y="192100"/>
                  <a:pt x="7772690" y="347253"/>
                  <a:pt x="7758130" y="553998"/>
                </a:cubicBezTo>
                <a:cubicBezTo>
                  <a:pt x="6768114" y="688598"/>
                  <a:pt x="3877426" y="396802"/>
                  <a:pt x="0" y="553998"/>
                </a:cubicBezTo>
                <a:cubicBezTo>
                  <a:pt x="-30048" y="341693"/>
                  <a:pt x="-893" y="255065"/>
                  <a:pt x="0" y="0"/>
                </a:cubicBezTo>
                <a:close/>
              </a:path>
            </a:pathLst>
          </a:custGeom>
          <a:solidFill>
            <a:schemeClr val="accent4">
              <a:lumMod val="60000"/>
              <a:lumOff val="40000"/>
            </a:scheme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xtLst>
              <a:ext uri="{C807C97D-BFC1-408E-A445-0C87EB9F89A2}">
                <ask:lineSketchStyleProps xmlns:ask="http://schemas.microsoft.com/office/drawing/2018/sketchyshapes" sd="1219033472">
                  <a:prstGeom prst="rect">
                    <a:avLst/>
                  </a:prstGeom>
                  <ask:type>
                    <ask:lineSketchCurved/>
                  </ask:type>
                </ask:lineSketchStyleProps>
              </a:ext>
            </a:extLst>
          </a:ln>
        </p:spPr>
        <p:txBody>
          <a:bodyPr wrap="square" lIns="0" tIns="0" rIns="0" bIns="0" rtlCol="0" anchor="t">
            <a:spAutoFit/>
          </a:bodyPr>
          <a:lstStyle/>
          <a:p>
            <a:pPr algn="ctr"/>
            <a:r>
              <a:rPr lang="en-GB" sz="1800" dirty="0">
                <a:effectLst/>
                <a:latin typeface="Calibri" panose="020F0502020204030204" pitchFamily="34" charset="0"/>
              </a:rPr>
              <a:t>In Population Census, learners design their own census survey, gather and analyse data on the people within their community to understand their community better </a:t>
            </a:r>
            <a:endParaRPr lang="en-GB" dirty="0">
              <a:effectLst/>
            </a:endParaRPr>
          </a:p>
        </p:txBody>
      </p:sp>
      <p:sp>
        <p:nvSpPr>
          <p:cNvPr id="49" name="TextBox 49"/>
          <p:cNvSpPr txBox="1"/>
          <p:nvPr/>
        </p:nvSpPr>
        <p:spPr>
          <a:xfrm>
            <a:off x="1051080" y="2889374"/>
            <a:ext cx="1503925" cy="265714"/>
          </a:xfrm>
          <a:prstGeom prst="rect">
            <a:avLst/>
          </a:prstGeom>
        </p:spPr>
        <p:txBody>
          <a:bodyPr lIns="0" tIns="0" rIns="0" bIns="0" rtlCol="0" anchor="t">
            <a:spAutoFit/>
          </a:bodyPr>
          <a:lstStyle/>
          <a:p>
            <a:pPr algn="ctr">
              <a:lnSpc>
                <a:spcPts val="2239"/>
              </a:lnSpc>
            </a:pPr>
            <a:r>
              <a:rPr lang="en-US" sz="1600" spc="51" dirty="0">
                <a:solidFill>
                  <a:srgbClr val="2B2A2A"/>
                </a:solidFill>
                <a:latin typeface="Barlow Medium Bold"/>
              </a:rPr>
              <a:t>Day 1</a:t>
            </a:r>
          </a:p>
        </p:txBody>
      </p:sp>
      <p:sp>
        <p:nvSpPr>
          <p:cNvPr id="50" name="TextBox 50"/>
          <p:cNvSpPr txBox="1"/>
          <p:nvPr/>
        </p:nvSpPr>
        <p:spPr>
          <a:xfrm>
            <a:off x="3498151" y="3561793"/>
            <a:ext cx="2402228" cy="1692771"/>
          </a:xfrm>
          <a:prstGeom prst="rect">
            <a:avLst/>
          </a:prstGeom>
        </p:spPr>
        <p:txBody>
          <a:bodyPr wrap="square" lIns="0" tIns="0" rIns="0" bIns="0" rtlCol="0" anchor="t">
            <a:spAutoFit/>
          </a:bodyPr>
          <a:lstStyle/>
          <a:p>
            <a:pPr marL="342900" indent="-342900" algn="ctr">
              <a:buAutoNum type="arabicPeriod"/>
            </a:pPr>
            <a:endParaRPr lang="en-GB" sz="1100" dirty="0">
              <a:effectLst/>
              <a:latin typeface="Barlow" pitchFamily="2" charset="77"/>
            </a:endParaRPr>
          </a:p>
          <a:p>
            <a:pPr marL="228600" indent="-228600">
              <a:buFont typeface="+mj-lt"/>
              <a:buAutoNum type="arabicPeriod"/>
            </a:pPr>
            <a:r>
              <a:rPr lang="en-GB" sz="1100" spc="38" dirty="0">
                <a:solidFill>
                  <a:srgbClr val="2B2A2A"/>
                </a:solidFill>
                <a:latin typeface="Barlow Medium"/>
              </a:rPr>
              <a:t>Create and survey the population of their immediate community including their own and their relatives’ households and their close neighbours. </a:t>
            </a:r>
          </a:p>
          <a:p>
            <a:pPr marL="228600" indent="-228600">
              <a:buFont typeface="+mj-lt"/>
              <a:buAutoNum type="arabicPeriod"/>
            </a:pPr>
            <a:r>
              <a:rPr lang="en-GB" sz="1100" spc="38" dirty="0">
                <a:solidFill>
                  <a:srgbClr val="2B2A2A"/>
                </a:solidFill>
                <a:latin typeface="Barlow Medium"/>
              </a:rPr>
              <a:t>Computing mean, median, mode, frequency  and graphical representation of data.</a:t>
            </a:r>
          </a:p>
          <a:p>
            <a:pPr algn="ctr"/>
            <a:endParaRPr lang="en-GB" sz="1100" dirty="0">
              <a:effectLst/>
              <a:latin typeface="Barlow" pitchFamily="2" charset="77"/>
            </a:endParaRPr>
          </a:p>
        </p:txBody>
      </p:sp>
      <p:sp>
        <p:nvSpPr>
          <p:cNvPr id="51" name="TextBox 51"/>
          <p:cNvSpPr txBox="1"/>
          <p:nvPr/>
        </p:nvSpPr>
        <p:spPr>
          <a:xfrm>
            <a:off x="3920151" y="3402118"/>
            <a:ext cx="1503925" cy="265714"/>
          </a:xfrm>
          <a:prstGeom prst="rect">
            <a:avLst/>
          </a:prstGeom>
        </p:spPr>
        <p:txBody>
          <a:bodyPr lIns="0" tIns="0" rIns="0" bIns="0" rtlCol="0" anchor="t">
            <a:spAutoFit/>
          </a:bodyPr>
          <a:lstStyle/>
          <a:p>
            <a:pPr algn="ctr">
              <a:lnSpc>
                <a:spcPts val="2239"/>
              </a:lnSpc>
            </a:pPr>
            <a:r>
              <a:rPr lang="en-US" sz="1600" spc="51" dirty="0">
                <a:solidFill>
                  <a:srgbClr val="2B2A2A"/>
                </a:solidFill>
                <a:latin typeface="Barlow Medium Bold"/>
              </a:rPr>
              <a:t>Day 2</a:t>
            </a:r>
          </a:p>
        </p:txBody>
      </p:sp>
      <p:sp>
        <p:nvSpPr>
          <p:cNvPr id="52" name="TextBox 52"/>
          <p:cNvSpPr txBox="1"/>
          <p:nvPr/>
        </p:nvSpPr>
        <p:spPr>
          <a:xfrm>
            <a:off x="6245322" y="3314631"/>
            <a:ext cx="2610135" cy="1692771"/>
          </a:xfrm>
          <a:prstGeom prst="rect">
            <a:avLst/>
          </a:prstGeom>
        </p:spPr>
        <p:txBody>
          <a:bodyPr wrap="square" lIns="0" tIns="0" rIns="0" bIns="0" rtlCol="0" anchor="t">
            <a:spAutoFit/>
          </a:bodyPr>
          <a:lstStyle/>
          <a:p>
            <a:pPr marL="228600" indent="-228600">
              <a:buFont typeface="+mj-lt"/>
              <a:buAutoNum type="arabicPeriod"/>
            </a:pPr>
            <a:r>
              <a:rPr lang="en-GB" sz="1100" spc="38" dirty="0">
                <a:solidFill>
                  <a:srgbClr val="2B2A2A"/>
                </a:solidFill>
                <a:latin typeface="Barlow Medium"/>
              </a:rPr>
              <a:t>Interpret and present data using bar charts, pictograms and tables </a:t>
            </a:r>
          </a:p>
          <a:p>
            <a:pPr marL="228600" indent="-228600">
              <a:buFont typeface="+mj-lt"/>
              <a:buAutoNum type="arabicPeriod"/>
            </a:pPr>
            <a:r>
              <a:rPr lang="en-GB" sz="1100" spc="38" dirty="0">
                <a:solidFill>
                  <a:srgbClr val="2B2A2A"/>
                </a:solidFill>
                <a:latin typeface="Barlow Medium"/>
              </a:rPr>
              <a:t>Solve one-step and two-step questions using information presented in scaled bar charts and pictograms and tables.</a:t>
            </a:r>
            <a:r>
              <a:rPr lang="en-US" sz="1100" spc="38" dirty="0">
                <a:solidFill>
                  <a:srgbClr val="2B2A2A"/>
                </a:solidFill>
                <a:latin typeface="Barlow Medium"/>
              </a:rPr>
              <a:t> </a:t>
            </a:r>
          </a:p>
          <a:p>
            <a:pPr marL="228600" indent="-228600">
              <a:buFont typeface="+mj-lt"/>
              <a:buAutoNum type="arabicPeriod"/>
            </a:pPr>
            <a:r>
              <a:rPr lang="en-GB" sz="1100" spc="38" dirty="0">
                <a:solidFill>
                  <a:srgbClr val="2B2A2A"/>
                </a:solidFill>
                <a:latin typeface="Barlow Medium"/>
              </a:rPr>
              <a:t>Identify one issue facing the community based on the results of their census. </a:t>
            </a:r>
            <a:endParaRPr lang="en-US" sz="1100" spc="38" dirty="0">
              <a:solidFill>
                <a:srgbClr val="2B2A2A"/>
              </a:solidFill>
              <a:latin typeface="Barlow Medium"/>
            </a:endParaRPr>
          </a:p>
          <a:p>
            <a:endParaRPr lang="en-GB" sz="1100" dirty="0">
              <a:latin typeface="Calibri" panose="020F0502020204030204" pitchFamily="34" charset="0"/>
            </a:endParaRPr>
          </a:p>
        </p:txBody>
      </p:sp>
      <p:sp>
        <p:nvSpPr>
          <p:cNvPr id="53" name="TextBox 53"/>
          <p:cNvSpPr txBox="1"/>
          <p:nvPr/>
        </p:nvSpPr>
        <p:spPr>
          <a:xfrm>
            <a:off x="6761870" y="2864927"/>
            <a:ext cx="1503925" cy="265714"/>
          </a:xfrm>
          <a:prstGeom prst="rect">
            <a:avLst/>
          </a:prstGeom>
        </p:spPr>
        <p:txBody>
          <a:bodyPr lIns="0" tIns="0" rIns="0" bIns="0" rtlCol="0" anchor="t">
            <a:spAutoFit/>
          </a:bodyPr>
          <a:lstStyle/>
          <a:p>
            <a:pPr algn="ctr">
              <a:lnSpc>
                <a:spcPts val="2239"/>
              </a:lnSpc>
            </a:pPr>
            <a:r>
              <a:rPr lang="en-US" sz="1600" spc="51" dirty="0">
                <a:solidFill>
                  <a:srgbClr val="2B2A2A"/>
                </a:solidFill>
                <a:latin typeface="Barlow Medium Bold"/>
              </a:rPr>
              <a:t>Day 3</a:t>
            </a:r>
          </a:p>
        </p:txBody>
      </p:sp>
      <p:sp>
        <p:nvSpPr>
          <p:cNvPr id="55" name="TextBox 55"/>
          <p:cNvSpPr txBox="1"/>
          <p:nvPr/>
        </p:nvSpPr>
        <p:spPr>
          <a:xfrm>
            <a:off x="9582775" y="3563396"/>
            <a:ext cx="1503925" cy="265714"/>
          </a:xfrm>
          <a:prstGeom prst="rect">
            <a:avLst/>
          </a:prstGeom>
        </p:spPr>
        <p:txBody>
          <a:bodyPr lIns="0" tIns="0" rIns="0" bIns="0" rtlCol="0" anchor="t">
            <a:spAutoFit/>
          </a:bodyPr>
          <a:lstStyle/>
          <a:p>
            <a:pPr algn="ctr">
              <a:lnSpc>
                <a:spcPts val="2239"/>
              </a:lnSpc>
            </a:pPr>
            <a:r>
              <a:rPr lang="en-US" sz="1600" spc="51" dirty="0">
                <a:solidFill>
                  <a:srgbClr val="2B2A2A"/>
                </a:solidFill>
                <a:latin typeface="Barlow Medium Bold"/>
              </a:rPr>
              <a:t>Day 4</a:t>
            </a:r>
          </a:p>
        </p:txBody>
      </p:sp>
      <p:sp>
        <p:nvSpPr>
          <p:cNvPr id="56" name="TextBox 56"/>
          <p:cNvSpPr txBox="1"/>
          <p:nvPr/>
        </p:nvSpPr>
        <p:spPr>
          <a:xfrm>
            <a:off x="9156414" y="3829110"/>
            <a:ext cx="2402228" cy="1015663"/>
          </a:xfrm>
          <a:prstGeom prst="rect">
            <a:avLst/>
          </a:prstGeom>
        </p:spPr>
        <p:txBody>
          <a:bodyPr wrap="square" lIns="0" tIns="0" rIns="0" bIns="0" rtlCol="0" anchor="t">
            <a:spAutoFit/>
          </a:bodyPr>
          <a:lstStyle/>
          <a:p>
            <a:pPr marL="228600" indent="-228600">
              <a:buFont typeface="+mj-lt"/>
              <a:buAutoNum type="arabicPeriod"/>
            </a:pPr>
            <a:r>
              <a:rPr lang="en-GB" sz="1100" spc="38" dirty="0">
                <a:solidFill>
                  <a:srgbClr val="2B2A2A"/>
                </a:solidFill>
                <a:latin typeface="Barlow Medium"/>
              </a:rPr>
              <a:t>Write a short essay or design a campaign poster to address the issue they have identified from the results of their survey.</a:t>
            </a:r>
          </a:p>
          <a:p>
            <a:pPr marL="228600" indent="-228600">
              <a:buFont typeface="+mj-lt"/>
              <a:buAutoNum type="arabicPeriod"/>
            </a:pPr>
            <a:r>
              <a:rPr lang="en-GB" sz="1100" spc="38" dirty="0">
                <a:solidFill>
                  <a:srgbClr val="2B2A2A"/>
                </a:solidFill>
                <a:latin typeface="Barlow Medium"/>
              </a:rPr>
              <a:t>Present the results of the census and their essays.</a:t>
            </a:r>
          </a:p>
        </p:txBody>
      </p:sp>
      <p:sp>
        <p:nvSpPr>
          <p:cNvPr id="58" name="TextBox 58"/>
          <p:cNvSpPr txBox="1"/>
          <p:nvPr/>
        </p:nvSpPr>
        <p:spPr>
          <a:xfrm>
            <a:off x="3647189" y="5464972"/>
            <a:ext cx="2028989" cy="600164"/>
          </a:xfrm>
          <a:prstGeom prst="rect">
            <a:avLst/>
          </a:prstGeom>
        </p:spPr>
        <p:txBody>
          <a:bodyPr wrap="square" lIns="0" tIns="0" rIns="0" bIns="0" rtlCol="0" anchor="t">
            <a:spAutoFit/>
          </a:bodyPr>
          <a:lstStyle/>
          <a:p>
            <a:pPr algn="ctr"/>
            <a:r>
              <a:rPr lang="en-GB" sz="1300" b="1" dirty="0">
                <a:solidFill>
                  <a:schemeClr val="bg1"/>
                </a:solidFill>
              </a:rPr>
              <a:t>Math (data handling),</a:t>
            </a:r>
          </a:p>
          <a:p>
            <a:pPr algn="ctr"/>
            <a:r>
              <a:rPr lang="en-GB" sz="1300" b="1" dirty="0">
                <a:solidFill>
                  <a:schemeClr val="bg1"/>
                </a:solidFill>
              </a:rPr>
              <a:t>21st century skills (communication)</a:t>
            </a:r>
            <a:r>
              <a:rPr lang="en-US" sz="1300" spc="68" dirty="0">
                <a:solidFill>
                  <a:schemeClr val="bg1"/>
                </a:solidFill>
                <a:latin typeface="Barlow Bold Bold"/>
              </a:rPr>
              <a:t> </a:t>
            </a:r>
          </a:p>
        </p:txBody>
      </p:sp>
      <p:grpSp>
        <p:nvGrpSpPr>
          <p:cNvPr id="62" name="Group 6">
            <a:extLst>
              <a:ext uri="{FF2B5EF4-FFF2-40B4-BE49-F238E27FC236}">
                <a16:creationId xmlns:a16="http://schemas.microsoft.com/office/drawing/2014/main" id="{39D1D990-A35B-9F8A-DAE2-DD44CF308FA4}"/>
              </a:ext>
            </a:extLst>
          </p:cNvPr>
          <p:cNvGrpSpPr/>
          <p:nvPr/>
        </p:nvGrpSpPr>
        <p:grpSpPr>
          <a:xfrm>
            <a:off x="387489" y="-100684"/>
            <a:ext cx="1558857" cy="1790037"/>
            <a:chOff x="1813" y="19050"/>
            <a:chExt cx="809173" cy="1020877"/>
          </a:xfrm>
        </p:grpSpPr>
        <p:sp>
          <p:nvSpPr>
            <p:cNvPr id="63" name="Freeform 7">
              <a:extLst>
                <a:ext uri="{FF2B5EF4-FFF2-40B4-BE49-F238E27FC236}">
                  <a16:creationId xmlns:a16="http://schemas.microsoft.com/office/drawing/2014/main" id="{4D2565BD-56B3-093B-39F5-2E6CA8237082}"/>
                </a:ext>
              </a:extLst>
            </p:cNvPr>
            <p:cNvSpPr/>
            <p:nvPr/>
          </p:nvSpPr>
          <p:spPr>
            <a:xfrm>
              <a:off x="1813" y="227127"/>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chemeClr val="accent6">
                <a:lumMod val="60000"/>
                <a:lumOff val="40000"/>
              </a:schemeClr>
            </a:solidFill>
          </p:spPr>
          <p:txBody>
            <a:bodyPr/>
            <a:lstStyle/>
            <a:p>
              <a:pPr algn="ctr"/>
              <a:endParaRPr lang="en-GB" sz="1200" b="1" dirty="0"/>
            </a:p>
          </p:txBody>
        </p:sp>
        <p:sp>
          <p:nvSpPr>
            <p:cNvPr id="64" name="TextBox 8">
              <a:extLst>
                <a:ext uri="{FF2B5EF4-FFF2-40B4-BE49-F238E27FC236}">
                  <a16:creationId xmlns:a16="http://schemas.microsoft.com/office/drawing/2014/main" id="{0B8CFF8F-0195-3EC0-3934-AF1607127FFD}"/>
                </a:ext>
              </a:extLst>
            </p:cNvPr>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a:p>
          </p:txBody>
        </p:sp>
      </p:grpSp>
      <p:sp>
        <p:nvSpPr>
          <p:cNvPr id="69" name="TextBox 68">
            <a:extLst>
              <a:ext uri="{FF2B5EF4-FFF2-40B4-BE49-F238E27FC236}">
                <a16:creationId xmlns:a16="http://schemas.microsoft.com/office/drawing/2014/main" id="{3E144D88-4E93-242C-B784-B663A0DAE97B}"/>
              </a:ext>
            </a:extLst>
          </p:cNvPr>
          <p:cNvSpPr txBox="1"/>
          <p:nvPr/>
        </p:nvSpPr>
        <p:spPr>
          <a:xfrm>
            <a:off x="402524" y="573201"/>
            <a:ext cx="1528786" cy="830997"/>
          </a:xfrm>
          <a:prstGeom prst="rect">
            <a:avLst/>
          </a:prstGeom>
          <a:noFill/>
        </p:spPr>
        <p:txBody>
          <a:bodyPr wrap="square">
            <a:spAutoFit/>
          </a:bodyPr>
          <a:lstStyle/>
          <a:p>
            <a:pPr algn="ctr"/>
            <a:r>
              <a:rPr lang="en-GB" sz="1200" b="1" dirty="0">
                <a:effectLst/>
                <a:latin typeface="Calibri" panose="020F0502020204030204" pitchFamily="34" charset="0"/>
              </a:rPr>
              <a:t>Can we conduct a census to learn more about our family and community? </a:t>
            </a:r>
            <a:endParaRPr lang="en-GB" sz="1000" b="1" dirty="0">
              <a:effectLst/>
            </a:endParaRPr>
          </a:p>
        </p:txBody>
      </p:sp>
      <p:sp>
        <p:nvSpPr>
          <p:cNvPr id="70" name="TextBox 69">
            <a:extLst>
              <a:ext uri="{FF2B5EF4-FFF2-40B4-BE49-F238E27FC236}">
                <a16:creationId xmlns:a16="http://schemas.microsoft.com/office/drawing/2014/main" id="{B08087F7-7B7F-A9EC-E04B-E89E12AD53A5}"/>
              </a:ext>
            </a:extLst>
          </p:cNvPr>
          <p:cNvSpPr txBox="1"/>
          <p:nvPr/>
        </p:nvSpPr>
        <p:spPr>
          <a:xfrm rot="16200000">
            <a:off x="-1099732" y="3391823"/>
            <a:ext cx="2748911" cy="338554"/>
          </a:xfrm>
          <a:prstGeom prst="rect">
            <a:avLst/>
          </a:prstGeom>
          <a:solidFill>
            <a:srgbClr val="C00000"/>
          </a:solidFill>
        </p:spPr>
        <p:txBody>
          <a:bodyPr wrap="square">
            <a:spAutoFit/>
          </a:bodyPr>
          <a:lstStyle/>
          <a:p>
            <a:pPr algn="ctr"/>
            <a:r>
              <a:rPr lang="en-GB" sz="1600" b="1" dirty="0">
                <a:solidFill>
                  <a:schemeClr val="bg1"/>
                </a:solidFill>
                <a:effectLst/>
                <a:latin typeface="ArialMT"/>
              </a:rPr>
              <a:t>Baseline assessment</a:t>
            </a:r>
            <a:endParaRPr lang="en-GB" sz="1600" b="1" dirty="0">
              <a:solidFill>
                <a:schemeClr val="bg1"/>
              </a:solidFill>
            </a:endParaRPr>
          </a:p>
        </p:txBody>
      </p:sp>
      <p:sp>
        <p:nvSpPr>
          <p:cNvPr id="71" name="TextBox 70">
            <a:extLst>
              <a:ext uri="{FF2B5EF4-FFF2-40B4-BE49-F238E27FC236}">
                <a16:creationId xmlns:a16="http://schemas.microsoft.com/office/drawing/2014/main" id="{01D638C5-995D-5BFB-1005-A9B5BD3F9092}"/>
              </a:ext>
            </a:extLst>
          </p:cNvPr>
          <p:cNvSpPr txBox="1"/>
          <p:nvPr/>
        </p:nvSpPr>
        <p:spPr>
          <a:xfrm rot="5400000">
            <a:off x="10593128" y="3270615"/>
            <a:ext cx="2748911" cy="338554"/>
          </a:xfrm>
          <a:prstGeom prst="rect">
            <a:avLst/>
          </a:prstGeom>
          <a:solidFill>
            <a:srgbClr val="C00000"/>
          </a:solidFill>
        </p:spPr>
        <p:txBody>
          <a:bodyPr wrap="square">
            <a:spAutoFit/>
          </a:bodyPr>
          <a:lstStyle/>
          <a:p>
            <a:pPr algn="ctr"/>
            <a:r>
              <a:rPr lang="en-GB" sz="1600" b="1" dirty="0">
                <a:solidFill>
                  <a:schemeClr val="bg1"/>
                </a:solidFill>
                <a:effectLst/>
                <a:latin typeface="ArialMT"/>
              </a:rPr>
              <a:t>Endline assessment</a:t>
            </a:r>
            <a:endParaRPr lang="en-GB" sz="1600" b="1" dirty="0">
              <a:solidFill>
                <a:schemeClr val="bg1"/>
              </a:solidFill>
            </a:endParaRPr>
          </a:p>
        </p:txBody>
      </p:sp>
      <p:pic>
        <p:nvPicPr>
          <p:cNvPr id="2" name="Google Shape;138;g9aeab9c65b_0_9">
            <a:extLst>
              <a:ext uri="{FF2B5EF4-FFF2-40B4-BE49-F238E27FC236}">
                <a16:creationId xmlns:a16="http://schemas.microsoft.com/office/drawing/2014/main" id="{004EA17C-A7D7-43D3-888F-938D27448BE2}"/>
              </a:ext>
            </a:extLst>
          </p:cNvPr>
          <p:cNvPicPr preferRelativeResize="0"/>
          <p:nvPr/>
        </p:nvPicPr>
        <p:blipFill rotWithShape="1">
          <a:blip r:embed="rId4">
            <a:alphaModFix/>
            <a:extLst>
              <a:ext uri="{BEBA8EAE-BF5A-486C-A8C5-ECC9F3942E4B}">
                <a14:imgProps xmlns:a14="http://schemas.microsoft.com/office/drawing/2010/main">
                  <a14:imgLayer r:embed="rId5">
                    <a14:imgEffect>
                      <a14:colorTemperature colorTemp="5130"/>
                    </a14:imgEffect>
                    <a14:imgEffect>
                      <a14:saturation sat="95000"/>
                    </a14:imgEffect>
                    <a14:imgEffect>
                      <a14:brightnessContrast bright="31000" contrast="30000"/>
                    </a14:imgEffect>
                  </a14:imgLayer>
                </a14:imgProps>
              </a:ext>
              <a:ext uri="{28A0092B-C50C-407E-A947-70E740481C1C}">
                <a14:useLocalDpi xmlns:a14="http://schemas.microsoft.com/office/drawing/2010/main"/>
              </a:ext>
            </a:extLst>
          </a:blip>
          <a:srcRect l="9171"/>
          <a:stretch/>
        </p:blipFill>
        <p:spPr>
          <a:xfrm>
            <a:off x="10139041" y="471162"/>
            <a:ext cx="1264311" cy="990710"/>
          </a:xfrm>
          <a:prstGeom prst="rect">
            <a:avLst/>
          </a:prstGeom>
          <a:noFill/>
          <a:ln w="57150">
            <a:solidFill>
              <a:srgbClr val="F6A11A"/>
            </a:solidFill>
          </a:ln>
        </p:spPr>
      </p:pic>
      <p:sp>
        <p:nvSpPr>
          <p:cNvPr id="3" name="TextBox 56">
            <a:extLst>
              <a:ext uri="{FF2B5EF4-FFF2-40B4-BE49-F238E27FC236}">
                <a16:creationId xmlns:a16="http://schemas.microsoft.com/office/drawing/2014/main" id="{A78EA16E-BD51-2E10-87EF-4F3A2E6DC03D}"/>
              </a:ext>
            </a:extLst>
          </p:cNvPr>
          <p:cNvSpPr txBox="1"/>
          <p:nvPr/>
        </p:nvSpPr>
        <p:spPr>
          <a:xfrm>
            <a:off x="800432" y="3180046"/>
            <a:ext cx="2256896" cy="1402307"/>
          </a:xfrm>
          <a:prstGeom prst="rect">
            <a:avLst/>
          </a:prstGeom>
        </p:spPr>
        <p:txBody>
          <a:bodyPr lIns="0" tIns="0" rIns="0" bIns="0" rtlCol="0" anchor="t">
            <a:spAutoFit/>
          </a:bodyPr>
          <a:lstStyle/>
          <a:p>
            <a:pPr marL="228600" indent="-228600">
              <a:lnSpc>
                <a:spcPts val="1680"/>
              </a:lnSpc>
              <a:spcBef>
                <a:spcPct val="0"/>
              </a:spcBef>
              <a:buFont typeface="+mj-lt"/>
              <a:buAutoNum type="arabicPeriod"/>
            </a:pPr>
            <a:r>
              <a:rPr lang="en-GB" sz="1100" spc="38" dirty="0">
                <a:solidFill>
                  <a:srgbClr val="2B2A2A"/>
                </a:solidFill>
                <a:latin typeface="Barlow Medium"/>
              </a:rPr>
              <a:t>Design and use a survey tool to gather information about their community.</a:t>
            </a:r>
          </a:p>
          <a:p>
            <a:pPr marL="228600" indent="-228600">
              <a:buFont typeface="+mj-lt"/>
              <a:buAutoNum type="arabicPeriod"/>
            </a:pPr>
            <a:r>
              <a:rPr lang="en-GB" sz="1100" spc="38" dirty="0">
                <a:solidFill>
                  <a:srgbClr val="2B2A2A"/>
                </a:solidFill>
                <a:latin typeface="Barlow Medium"/>
              </a:rPr>
              <a:t>Calculate percentages with two-digit numbers.</a:t>
            </a:r>
          </a:p>
          <a:p>
            <a:pPr>
              <a:lnSpc>
                <a:spcPts val="1680"/>
              </a:lnSpc>
              <a:spcBef>
                <a:spcPct val="0"/>
              </a:spcBef>
            </a:pPr>
            <a:endParaRPr lang="en-GB" sz="1100" spc="38" dirty="0">
              <a:solidFill>
                <a:srgbClr val="2B2A2A"/>
              </a:solidFill>
              <a:latin typeface="Barlow Medium"/>
            </a:endParaRPr>
          </a:p>
          <a:p>
            <a:pPr>
              <a:lnSpc>
                <a:spcPts val="1680"/>
              </a:lnSpc>
              <a:spcBef>
                <a:spcPct val="0"/>
              </a:spcBef>
            </a:pPr>
            <a:endParaRPr lang="en-US" sz="1100" spc="38" dirty="0">
              <a:solidFill>
                <a:srgbClr val="2B2A2A"/>
              </a:solidFill>
              <a:latin typeface="Barlow Medium"/>
            </a:endParaRPr>
          </a:p>
        </p:txBody>
      </p:sp>
      <p:sp>
        <p:nvSpPr>
          <p:cNvPr id="37" name="TextBox 58">
            <a:extLst>
              <a:ext uri="{FF2B5EF4-FFF2-40B4-BE49-F238E27FC236}">
                <a16:creationId xmlns:a16="http://schemas.microsoft.com/office/drawing/2014/main" id="{0E981E9D-E491-7A45-761B-98619CF66B20}"/>
              </a:ext>
            </a:extLst>
          </p:cNvPr>
          <p:cNvSpPr txBox="1"/>
          <p:nvPr/>
        </p:nvSpPr>
        <p:spPr>
          <a:xfrm>
            <a:off x="6630778" y="5367635"/>
            <a:ext cx="1937685" cy="800219"/>
          </a:xfrm>
          <a:prstGeom prst="rect">
            <a:avLst/>
          </a:prstGeom>
        </p:spPr>
        <p:txBody>
          <a:bodyPr wrap="square" lIns="0" tIns="0" rIns="0" bIns="0" rtlCol="0" anchor="t">
            <a:spAutoFit/>
          </a:bodyPr>
          <a:lstStyle/>
          <a:p>
            <a:pPr algn="ctr"/>
            <a:r>
              <a:rPr lang="en-GB" sz="1300" b="1" dirty="0"/>
              <a:t>Math (statistics), 21st century skills (critical thinking, communication, problem solving)</a:t>
            </a:r>
            <a:r>
              <a:rPr lang="en-US" sz="1300" spc="68" dirty="0">
                <a:latin typeface="Barlow Bold Bold"/>
              </a:rPr>
              <a:t> </a:t>
            </a:r>
          </a:p>
        </p:txBody>
      </p:sp>
      <p:sp>
        <p:nvSpPr>
          <p:cNvPr id="39" name="TextBox 58">
            <a:extLst>
              <a:ext uri="{FF2B5EF4-FFF2-40B4-BE49-F238E27FC236}">
                <a16:creationId xmlns:a16="http://schemas.microsoft.com/office/drawing/2014/main" id="{1BBC6C19-3EF5-C1ED-2530-C12C2BF27101}"/>
              </a:ext>
            </a:extLst>
          </p:cNvPr>
          <p:cNvSpPr txBox="1"/>
          <p:nvPr/>
        </p:nvSpPr>
        <p:spPr>
          <a:xfrm>
            <a:off x="9123009" y="5296935"/>
            <a:ext cx="2461754" cy="600164"/>
          </a:xfrm>
          <a:prstGeom prst="rect">
            <a:avLst/>
          </a:prstGeom>
        </p:spPr>
        <p:txBody>
          <a:bodyPr wrap="square" lIns="0" tIns="0" rIns="0" bIns="0" rtlCol="0" anchor="t">
            <a:spAutoFit/>
          </a:bodyPr>
          <a:lstStyle/>
          <a:p>
            <a:pPr algn="ctr"/>
            <a:r>
              <a:rPr lang="en-GB" sz="1300" b="1" dirty="0">
                <a:solidFill>
                  <a:schemeClr val="bg1"/>
                </a:solidFill>
              </a:rPr>
              <a:t>Literacy, 21</a:t>
            </a:r>
            <a:r>
              <a:rPr lang="en-GB" sz="1300" b="1" baseline="30000" dirty="0">
                <a:solidFill>
                  <a:schemeClr val="bg1"/>
                </a:solidFill>
              </a:rPr>
              <a:t>st</a:t>
            </a:r>
            <a:r>
              <a:rPr lang="en-GB" sz="1300" b="1" dirty="0">
                <a:solidFill>
                  <a:schemeClr val="bg1"/>
                </a:solidFill>
              </a:rPr>
              <a:t> century skills (communication, problem solving), </a:t>
            </a:r>
            <a:r>
              <a:rPr lang="en-US" sz="1300" b="1" dirty="0">
                <a:solidFill>
                  <a:schemeClr val="bg1"/>
                </a:solidFill>
              </a:rPr>
              <a:t>social emotional learning.</a:t>
            </a:r>
            <a:endParaRPr lang="en-US" sz="1300" spc="68" dirty="0">
              <a:solidFill>
                <a:schemeClr val="bg1"/>
              </a:solidFill>
              <a:latin typeface="Barlow Bold Bold"/>
            </a:endParaRPr>
          </a:p>
        </p:txBody>
      </p:sp>
      <p:grpSp>
        <p:nvGrpSpPr>
          <p:cNvPr id="66" name="Group 13">
            <a:extLst>
              <a:ext uri="{FF2B5EF4-FFF2-40B4-BE49-F238E27FC236}">
                <a16:creationId xmlns:a16="http://schemas.microsoft.com/office/drawing/2014/main" id="{FBB76F26-7EBF-0C79-2D9C-8AB2554BA10C}"/>
              </a:ext>
            </a:extLst>
          </p:cNvPr>
          <p:cNvGrpSpPr/>
          <p:nvPr/>
        </p:nvGrpSpPr>
        <p:grpSpPr>
          <a:xfrm>
            <a:off x="755562" y="1835715"/>
            <a:ext cx="1608614" cy="1028700"/>
            <a:chOff x="76200" y="10629"/>
            <a:chExt cx="1271004" cy="812800"/>
          </a:xfrm>
        </p:grpSpPr>
        <p:sp>
          <p:nvSpPr>
            <p:cNvPr id="67" name="Freeform 14">
              <a:extLst>
                <a:ext uri="{FF2B5EF4-FFF2-40B4-BE49-F238E27FC236}">
                  <a16:creationId xmlns:a16="http://schemas.microsoft.com/office/drawing/2014/main" id="{61ADA20D-DF56-3928-961E-A3FE84966456}"/>
                </a:ext>
              </a:extLst>
            </p:cNvPr>
            <p:cNvSpPr/>
            <p:nvPr/>
          </p:nvSpPr>
          <p:spPr>
            <a:xfrm>
              <a:off x="538031" y="10629"/>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chemeClr val="accent4"/>
            </a:solidFill>
          </p:spPr>
          <p:txBody>
            <a:bodyPr/>
            <a:lstStyle/>
            <a:p>
              <a:endParaRPr lang="en-QA" dirty="0"/>
            </a:p>
          </p:txBody>
        </p:sp>
        <p:sp>
          <p:nvSpPr>
            <p:cNvPr id="68" name="TextBox 15">
              <a:extLst>
                <a:ext uri="{FF2B5EF4-FFF2-40B4-BE49-F238E27FC236}">
                  <a16:creationId xmlns:a16="http://schemas.microsoft.com/office/drawing/2014/main" id="{311D0C27-A0C6-47CF-34B5-2A6414C7C219}"/>
                </a:ext>
              </a:extLst>
            </p:cNvPr>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a:p>
          </p:txBody>
        </p:sp>
      </p:grpSp>
      <p:pic>
        <p:nvPicPr>
          <p:cNvPr id="60" name="Picture 8">
            <a:extLst>
              <a:ext uri="{FF2B5EF4-FFF2-40B4-BE49-F238E27FC236}">
                <a16:creationId xmlns:a16="http://schemas.microsoft.com/office/drawing/2014/main" id="{2576C297-9D2B-71B8-0D41-6BE666ABB57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1354231" y="1876291"/>
            <a:ext cx="886069" cy="886069"/>
          </a:xfrm>
          <a:prstGeom prst="rect">
            <a:avLst/>
          </a:prstGeom>
        </p:spPr>
      </p:pic>
      <p:grpSp>
        <p:nvGrpSpPr>
          <p:cNvPr id="72" name="Group 13">
            <a:extLst>
              <a:ext uri="{FF2B5EF4-FFF2-40B4-BE49-F238E27FC236}">
                <a16:creationId xmlns:a16="http://schemas.microsoft.com/office/drawing/2014/main" id="{4C0ECA1C-B340-7258-5642-424BB204F88C}"/>
              </a:ext>
            </a:extLst>
          </p:cNvPr>
          <p:cNvGrpSpPr/>
          <p:nvPr/>
        </p:nvGrpSpPr>
        <p:grpSpPr>
          <a:xfrm>
            <a:off x="6406790" y="1715636"/>
            <a:ext cx="1608614" cy="1028700"/>
            <a:chOff x="76200" y="10629"/>
            <a:chExt cx="1271004" cy="812800"/>
          </a:xfrm>
        </p:grpSpPr>
        <p:sp>
          <p:nvSpPr>
            <p:cNvPr id="73" name="Freeform 14">
              <a:extLst>
                <a:ext uri="{FF2B5EF4-FFF2-40B4-BE49-F238E27FC236}">
                  <a16:creationId xmlns:a16="http://schemas.microsoft.com/office/drawing/2014/main" id="{F0243FAD-9822-E826-7833-BAD5D3C56C75}"/>
                </a:ext>
              </a:extLst>
            </p:cNvPr>
            <p:cNvSpPr/>
            <p:nvPr/>
          </p:nvSpPr>
          <p:spPr>
            <a:xfrm>
              <a:off x="538031" y="10629"/>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chemeClr val="accent4"/>
            </a:solidFill>
          </p:spPr>
          <p:txBody>
            <a:bodyPr/>
            <a:lstStyle/>
            <a:p>
              <a:endParaRPr lang="en-QA" dirty="0"/>
            </a:p>
          </p:txBody>
        </p:sp>
        <p:sp>
          <p:nvSpPr>
            <p:cNvPr id="74" name="TextBox 15">
              <a:extLst>
                <a:ext uri="{FF2B5EF4-FFF2-40B4-BE49-F238E27FC236}">
                  <a16:creationId xmlns:a16="http://schemas.microsoft.com/office/drawing/2014/main" id="{26E92603-0476-7E02-BDFB-D9C09DC5968F}"/>
                </a:ext>
              </a:extLst>
            </p:cNvPr>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a:p>
          </p:txBody>
        </p:sp>
      </p:grpSp>
      <p:pic>
        <p:nvPicPr>
          <p:cNvPr id="61" name="Picture 44">
            <a:extLst>
              <a:ext uri="{FF2B5EF4-FFF2-40B4-BE49-F238E27FC236}">
                <a16:creationId xmlns:a16="http://schemas.microsoft.com/office/drawing/2014/main" id="{473D4DBA-374B-B139-7710-AE16867BEBD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7115513" y="1971252"/>
            <a:ext cx="794137" cy="557340"/>
          </a:xfrm>
          <a:prstGeom prst="rect">
            <a:avLst/>
          </a:prstGeom>
        </p:spPr>
      </p:pic>
      <p:pic>
        <p:nvPicPr>
          <p:cNvPr id="75" name="Picture 4">
            <a:extLst>
              <a:ext uri="{FF2B5EF4-FFF2-40B4-BE49-F238E27FC236}">
                <a16:creationId xmlns:a16="http://schemas.microsoft.com/office/drawing/2014/main" id="{77FF1ED6-78AB-7ABC-E2D5-CF7629EA9DF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p:blipFill>
        <p:spPr>
          <a:xfrm>
            <a:off x="4401188" y="2397528"/>
            <a:ext cx="556845" cy="798344"/>
          </a:xfrm>
          <a:prstGeom prst="rect">
            <a:avLst/>
          </a:prstGeom>
        </p:spPr>
      </p:pic>
      <p:pic>
        <p:nvPicPr>
          <p:cNvPr id="76" name="Picture 45">
            <a:extLst>
              <a:ext uri="{FF2B5EF4-FFF2-40B4-BE49-F238E27FC236}">
                <a16:creationId xmlns:a16="http://schemas.microsoft.com/office/drawing/2014/main" id="{21610564-E1EB-D214-AE6B-3AD4EF63A8A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9832445" y="2577975"/>
            <a:ext cx="889196" cy="850395"/>
          </a:xfrm>
          <a:prstGeom prst="rect">
            <a:avLst/>
          </a:prstGeom>
        </p:spPr>
      </p:pic>
      <p:pic>
        <p:nvPicPr>
          <p:cNvPr id="77" name="Picture 4">
            <a:extLst>
              <a:ext uri="{FF2B5EF4-FFF2-40B4-BE49-F238E27FC236}">
                <a16:creationId xmlns:a16="http://schemas.microsoft.com/office/drawing/2014/main" id="{65127690-AA6B-37AB-4208-EFB6A95886FD}"/>
              </a:ext>
            </a:extLst>
          </p:cNvPr>
          <p:cNvPicPr>
            <a:picLocks noChangeAspect="1"/>
          </p:cNvPicPr>
          <p:nvPr/>
        </p:nvPicPr>
        <p:blipFill>
          <a:blip r:embed="rId14"/>
          <a:srcRect/>
          <a:stretch>
            <a:fillRect/>
          </a:stretch>
        </p:blipFill>
        <p:spPr>
          <a:xfrm>
            <a:off x="1266476" y="62733"/>
            <a:ext cx="805465" cy="643365"/>
          </a:xfrm>
          <a:prstGeom prst="rect">
            <a:avLst/>
          </a:prstGeom>
        </p:spPr>
      </p:pic>
      <p:grpSp>
        <p:nvGrpSpPr>
          <p:cNvPr id="36" name="Group 9">
            <a:extLst>
              <a:ext uri="{FF2B5EF4-FFF2-40B4-BE49-F238E27FC236}">
                <a16:creationId xmlns:a16="http://schemas.microsoft.com/office/drawing/2014/main" id="{7C41F889-8C66-BB39-DB7F-CD03A67DA8D3}"/>
              </a:ext>
            </a:extLst>
          </p:cNvPr>
          <p:cNvGrpSpPr/>
          <p:nvPr/>
        </p:nvGrpSpPr>
        <p:grpSpPr>
          <a:xfrm>
            <a:off x="742490" y="5648258"/>
            <a:ext cx="2158743" cy="519596"/>
            <a:chOff x="-169934" y="1"/>
            <a:chExt cx="2158703" cy="519586"/>
          </a:xfrm>
        </p:grpSpPr>
        <p:sp>
          <p:nvSpPr>
            <p:cNvPr id="43" name="Freeform 10">
              <a:extLst>
                <a:ext uri="{FF2B5EF4-FFF2-40B4-BE49-F238E27FC236}">
                  <a16:creationId xmlns:a16="http://schemas.microsoft.com/office/drawing/2014/main" id="{F3A146A1-CC32-0970-8E1C-A3AC5234B13A}"/>
                </a:ext>
              </a:extLst>
            </p:cNvPr>
            <p:cNvSpPr/>
            <p:nvPr/>
          </p:nvSpPr>
          <p:spPr>
            <a:xfrm>
              <a:off x="-169934" y="1"/>
              <a:ext cx="2158703" cy="519586"/>
            </a:xfrm>
            <a:custGeom>
              <a:avLst/>
              <a:gdLst/>
              <a:ahLst/>
              <a:cxnLst/>
              <a:rect l="l" t="t" r="r" b="b"/>
              <a:pathLst>
                <a:path w="1913890" h="660400">
                  <a:moveTo>
                    <a:pt x="1789430" y="660400"/>
                  </a:moveTo>
                  <a:lnTo>
                    <a:pt x="124460" y="660400"/>
                  </a:lnTo>
                  <a:cubicBezTo>
                    <a:pt x="55880" y="660400"/>
                    <a:pt x="0" y="604520"/>
                    <a:pt x="0" y="535940"/>
                  </a:cubicBezTo>
                  <a:lnTo>
                    <a:pt x="0" y="124460"/>
                  </a:lnTo>
                  <a:cubicBezTo>
                    <a:pt x="0" y="55880"/>
                    <a:pt x="55880" y="0"/>
                    <a:pt x="124460" y="0"/>
                  </a:cubicBezTo>
                  <a:lnTo>
                    <a:pt x="1789430" y="0"/>
                  </a:lnTo>
                  <a:cubicBezTo>
                    <a:pt x="1858010" y="0"/>
                    <a:pt x="1913890" y="55880"/>
                    <a:pt x="1913890" y="124460"/>
                  </a:cubicBezTo>
                  <a:lnTo>
                    <a:pt x="1913890" y="535940"/>
                  </a:lnTo>
                  <a:cubicBezTo>
                    <a:pt x="1913890" y="604520"/>
                    <a:pt x="1858010" y="660400"/>
                    <a:pt x="1789430" y="660400"/>
                  </a:cubicBezTo>
                  <a:close/>
                </a:path>
              </a:pathLst>
            </a:custGeom>
            <a:solidFill>
              <a:schemeClr val="accent6">
                <a:lumMod val="60000"/>
                <a:lumOff val="40000"/>
              </a:schemeClr>
            </a:solidFill>
          </p:spPr>
          <p:txBody>
            <a:bodyPr/>
            <a:lstStyle/>
            <a:p>
              <a:pPr algn="ctr"/>
              <a:r>
                <a:rPr lang="en-GB" sz="1300" b="1" dirty="0"/>
                <a:t>Provide support</a:t>
              </a:r>
            </a:p>
            <a:p>
              <a:pPr algn="ctr"/>
              <a:r>
                <a:rPr lang="en-GB" sz="1300" b="1" dirty="0"/>
                <a:t>Help learner collect info</a:t>
              </a:r>
              <a:endParaRPr lang="en-QA" sz="1300" b="1" dirty="0"/>
            </a:p>
          </p:txBody>
        </p:sp>
      </p:grpSp>
      <p:grpSp>
        <p:nvGrpSpPr>
          <p:cNvPr id="45" name="Group 9">
            <a:extLst>
              <a:ext uri="{FF2B5EF4-FFF2-40B4-BE49-F238E27FC236}">
                <a16:creationId xmlns:a16="http://schemas.microsoft.com/office/drawing/2014/main" id="{74EA1BA0-6BB6-3806-3972-11CE29301D10}"/>
              </a:ext>
            </a:extLst>
          </p:cNvPr>
          <p:cNvGrpSpPr/>
          <p:nvPr/>
        </p:nvGrpSpPr>
        <p:grpSpPr>
          <a:xfrm>
            <a:off x="9332005" y="6225064"/>
            <a:ext cx="2158743" cy="519596"/>
            <a:chOff x="-294520" y="-100918"/>
            <a:chExt cx="2158703" cy="519586"/>
          </a:xfrm>
        </p:grpSpPr>
        <p:sp>
          <p:nvSpPr>
            <p:cNvPr id="46" name="Freeform 10">
              <a:extLst>
                <a:ext uri="{FF2B5EF4-FFF2-40B4-BE49-F238E27FC236}">
                  <a16:creationId xmlns:a16="http://schemas.microsoft.com/office/drawing/2014/main" id="{8A9538B8-BBF1-7A4C-DC6E-B93CF52C4E00}"/>
                </a:ext>
              </a:extLst>
            </p:cNvPr>
            <p:cNvSpPr/>
            <p:nvPr/>
          </p:nvSpPr>
          <p:spPr>
            <a:xfrm>
              <a:off x="-294520" y="-100918"/>
              <a:ext cx="2158703" cy="519586"/>
            </a:xfrm>
            <a:custGeom>
              <a:avLst/>
              <a:gdLst/>
              <a:ahLst/>
              <a:cxnLst/>
              <a:rect l="l" t="t" r="r" b="b"/>
              <a:pathLst>
                <a:path w="1913890" h="660400">
                  <a:moveTo>
                    <a:pt x="1789430" y="660400"/>
                  </a:moveTo>
                  <a:lnTo>
                    <a:pt x="124460" y="660400"/>
                  </a:lnTo>
                  <a:cubicBezTo>
                    <a:pt x="55880" y="660400"/>
                    <a:pt x="0" y="604520"/>
                    <a:pt x="0" y="535940"/>
                  </a:cubicBezTo>
                  <a:lnTo>
                    <a:pt x="0" y="124460"/>
                  </a:lnTo>
                  <a:cubicBezTo>
                    <a:pt x="0" y="55880"/>
                    <a:pt x="55880" y="0"/>
                    <a:pt x="124460" y="0"/>
                  </a:cubicBezTo>
                  <a:lnTo>
                    <a:pt x="1789430" y="0"/>
                  </a:lnTo>
                  <a:cubicBezTo>
                    <a:pt x="1858010" y="0"/>
                    <a:pt x="1913890" y="55880"/>
                    <a:pt x="1913890" y="124460"/>
                  </a:cubicBezTo>
                  <a:lnTo>
                    <a:pt x="1913890" y="535940"/>
                  </a:lnTo>
                  <a:cubicBezTo>
                    <a:pt x="1913890" y="604520"/>
                    <a:pt x="1858010" y="660400"/>
                    <a:pt x="1789430" y="660400"/>
                  </a:cubicBezTo>
                  <a:close/>
                </a:path>
              </a:pathLst>
            </a:custGeom>
            <a:solidFill>
              <a:schemeClr val="accent6">
                <a:lumMod val="60000"/>
                <a:lumOff val="40000"/>
              </a:schemeClr>
            </a:solidFill>
          </p:spPr>
          <p:txBody>
            <a:bodyPr/>
            <a:lstStyle/>
            <a:p>
              <a:pPr algn="ctr"/>
              <a:r>
                <a:rPr lang="en-GB" sz="1300" b="1" dirty="0"/>
                <a:t>Review essays</a:t>
              </a:r>
            </a:p>
            <a:p>
              <a:pPr algn="ctr"/>
              <a:r>
                <a:rPr lang="en-GB" sz="1300" b="1" dirty="0"/>
                <a:t>Provide feedback</a:t>
              </a:r>
              <a:endParaRPr lang="en-QA" sz="1300" b="1" dirty="0"/>
            </a:p>
          </p:txBody>
        </p:sp>
      </p:grpSp>
      <p:sp>
        <p:nvSpPr>
          <p:cNvPr id="54" name="AutoShape 32">
            <a:extLst>
              <a:ext uri="{FF2B5EF4-FFF2-40B4-BE49-F238E27FC236}">
                <a16:creationId xmlns:a16="http://schemas.microsoft.com/office/drawing/2014/main" id="{3326C4F1-3865-FC63-4205-E64A5D7C874B}"/>
              </a:ext>
            </a:extLst>
          </p:cNvPr>
          <p:cNvSpPr/>
          <p:nvPr/>
        </p:nvSpPr>
        <p:spPr>
          <a:xfrm rot="-5399999">
            <a:off x="10175737" y="6027544"/>
            <a:ext cx="381517" cy="9312"/>
          </a:xfrm>
          <a:prstGeom prst="line">
            <a:avLst/>
          </a:prstGeom>
          <a:ln w="47625" cap="flat">
            <a:solidFill>
              <a:srgbClr val="2B2A2A"/>
            </a:solidFill>
            <a:prstDash val="solid"/>
            <a:headEnd type="none" w="sm" len="sm"/>
            <a:tailEnd type="none" w="sm" len="sm"/>
          </a:ln>
        </p:spPr>
      </p:sp>
      <p:grpSp>
        <p:nvGrpSpPr>
          <p:cNvPr id="8" name="Group 9">
            <a:extLst>
              <a:ext uri="{FF2B5EF4-FFF2-40B4-BE49-F238E27FC236}">
                <a16:creationId xmlns:a16="http://schemas.microsoft.com/office/drawing/2014/main" id="{006EC0F6-F237-4A0A-9565-8CE6554CB401}"/>
              </a:ext>
            </a:extLst>
          </p:cNvPr>
          <p:cNvGrpSpPr/>
          <p:nvPr/>
        </p:nvGrpSpPr>
        <p:grpSpPr>
          <a:xfrm>
            <a:off x="3638630" y="6247443"/>
            <a:ext cx="2158743" cy="519596"/>
            <a:chOff x="-169934" y="1"/>
            <a:chExt cx="2158703" cy="519586"/>
          </a:xfrm>
        </p:grpSpPr>
        <p:sp>
          <p:nvSpPr>
            <p:cNvPr id="20" name="Freeform 10">
              <a:extLst>
                <a:ext uri="{FF2B5EF4-FFF2-40B4-BE49-F238E27FC236}">
                  <a16:creationId xmlns:a16="http://schemas.microsoft.com/office/drawing/2014/main" id="{5F5E0B32-BBA3-48BC-5227-E1B9DB1BC890}"/>
                </a:ext>
              </a:extLst>
            </p:cNvPr>
            <p:cNvSpPr/>
            <p:nvPr/>
          </p:nvSpPr>
          <p:spPr>
            <a:xfrm>
              <a:off x="-169934" y="1"/>
              <a:ext cx="2158703" cy="519586"/>
            </a:xfrm>
            <a:custGeom>
              <a:avLst/>
              <a:gdLst/>
              <a:ahLst/>
              <a:cxnLst/>
              <a:rect l="l" t="t" r="r" b="b"/>
              <a:pathLst>
                <a:path w="1913890" h="660400">
                  <a:moveTo>
                    <a:pt x="1789430" y="660400"/>
                  </a:moveTo>
                  <a:lnTo>
                    <a:pt x="124460" y="660400"/>
                  </a:lnTo>
                  <a:cubicBezTo>
                    <a:pt x="55880" y="660400"/>
                    <a:pt x="0" y="604520"/>
                    <a:pt x="0" y="535940"/>
                  </a:cubicBezTo>
                  <a:lnTo>
                    <a:pt x="0" y="124460"/>
                  </a:lnTo>
                  <a:cubicBezTo>
                    <a:pt x="0" y="55880"/>
                    <a:pt x="55880" y="0"/>
                    <a:pt x="124460" y="0"/>
                  </a:cubicBezTo>
                  <a:lnTo>
                    <a:pt x="1789430" y="0"/>
                  </a:lnTo>
                  <a:cubicBezTo>
                    <a:pt x="1858010" y="0"/>
                    <a:pt x="1913890" y="55880"/>
                    <a:pt x="1913890" y="124460"/>
                  </a:cubicBezTo>
                  <a:lnTo>
                    <a:pt x="1913890" y="535940"/>
                  </a:lnTo>
                  <a:cubicBezTo>
                    <a:pt x="1913890" y="604520"/>
                    <a:pt x="1858010" y="660400"/>
                    <a:pt x="1789430" y="660400"/>
                  </a:cubicBezTo>
                  <a:close/>
                </a:path>
              </a:pathLst>
            </a:custGeom>
            <a:solidFill>
              <a:schemeClr val="accent6">
                <a:lumMod val="60000"/>
                <a:lumOff val="40000"/>
              </a:schemeClr>
            </a:solidFill>
          </p:spPr>
          <p:txBody>
            <a:bodyPr/>
            <a:lstStyle/>
            <a:p>
              <a:pPr algn="ctr"/>
              <a:r>
                <a:rPr lang="en-GB" sz="1300" b="1" dirty="0"/>
                <a:t>Help learners interview community members</a:t>
              </a:r>
              <a:endParaRPr lang="en-QA" sz="1300" b="1" dirty="0"/>
            </a:p>
          </p:txBody>
        </p:sp>
      </p:grpSp>
    </p:spTree>
    <p:extLst>
      <p:ext uri="{BB962C8B-B14F-4D97-AF65-F5344CB8AC3E}">
        <p14:creationId xmlns:p14="http://schemas.microsoft.com/office/powerpoint/2010/main" val="881098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7"/>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25"/>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5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56"/>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76"/>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3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35"/>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9"/>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45"/>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54"/>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71"/>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8"/>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p:bldP spid="51" grpId="0"/>
      <p:bldP spid="52" grpId="0"/>
      <p:bldP spid="53" grpId="0"/>
      <p:bldP spid="55" grpId="0"/>
      <p:bldP spid="56" grpId="0"/>
      <p:bldP spid="58" grpId="0"/>
      <p:bldP spid="70" grpId="0" animBg="1"/>
      <p:bldP spid="71" grpId="0" animBg="1"/>
      <p:bldP spid="3" grpId="0"/>
      <p:bldP spid="37" grpId="0"/>
      <p:bldP spid="3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131E0-C2F7-3439-0CC6-808089FB2852}"/>
              </a:ext>
            </a:extLst>
          </p:cNvPr>
          <p:cNvSpPr>
            <a:spLocks noGrp="1"/>
          </p:cNvSpPr>
          <p:nvPr>
            <p:ph type="title"/>
          </p:nvPr>
        </p:nvSpPr>
        <p:spPr/>
        <p:txBody>
          <a:bodyPr/>
          <a:lstStyle/>
          <a:p>
            <a:endParaRPr lang="en-QA"/>
          </a:p>
        </p:txBody>
      </p:sp>
      <p:pic>
        <p:nvPicPr>
          <p:cNvPr id="3" name="Picture 2" descr="A group of people sitting at tables&#10;&#10;Description automatically generated with medium confidence">
            <a:extLst>
              <a:ext uri="{FF2B5EF4-FFF2-40B4-BE49-F238E27FC236}">
                <a16:creationId xmlns:a16="http://schemas.microsoft.com/office/drawing/2014/main" id="{7D067AC9-8673-D67D-A22A-41F21D781B24}"/>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1"/>
            <a:ext cx="12191980" cy="6857999"/>
          </a:xfrm>
          <a:prstGeom prst="rect">
            <a:avLst/>
          </a:prstGeom>
        </p:spPr>
      </p:pic>
      <p:sp>
        <p:nvSpPr>
          <p:cNvPr id="20" name="TextBox 19">
            <a:extLst>
              <a:ext uri="{FF2B5EF4-FFF2-40B4-BE49-F238E27FC236}">
                <a16:creationId xmlns:a16="http://schemas.microsoft.com/office/drawing/2014/main" id="{F891F2A4-654A-F80D-94E1-F9746B4C341E}"/>
              </a:ext>
            </a:extLst>
          </p:cNvPr>
          <p:cNvSpPr txBox="1"/>
          <p:nvPr/>
        </p:nvSpPr>
        <p:spPr>
          <a:xfrm>
            <a:off x="318051" y="230208"/>
            <a:ext cx="3140766" cy="1323439"/>
          </a:xfrm>
          <a:custGeom>
            <a:avLst/>
            <a:gdLst>
              <a:gd name="csX0" fmla="*/ 0 w 3140766"/>
              <a:gd name="csY0" fmla="*/ 0 h 1323439"/>
              <a:gd name="csX1" fmla="*/ 690969 w 3140766"/>
              <a:gd name="csY1" fmla="*/ 0 h 1323439"/>
              <a:gd name="csX2" fmla="*/ 1350529 w 3140766"/>
              <a:gd name="csY2" fmla="*/ 0 h 1323439"/>
              <a:gd name="csX3" fmla="*/ 1915867 w 3140766"/>
              <a:gd name="csY3" fmla="*/ 0 h 1323439"/>
              <a:gd name="csX4" fmla="*/ 2481205 w 3140766"/>
              <a:gd name="csY4" fmla="*/ 0 h 1323439"/>
              <a:gd name="csX5" fmla="*/ 3140766 w 3140766"/>
              <a:gd name="csY5" fmla="*/ 0 h 1323439"/>
              <a:gd name="csX6" fmla="*/ 3140766 w 3140766"/>
              <a:gd name="csY6" fmla="*/ 661720 h 1323439"/>
              <a:gd name="csX7" fmla="*/ 3140766 w 3140766"/>
              <a:gd name="csY7" fmla="*/ 1323439 h 1323439"/>
              <a:gd name="csX8" fmla="*/ 2512613 w 3140766"/>
              <a:gd name="csY8" fmla="*/ 1323439 h 1323439"/>
              <a:gd name="csX9" fmla="*/ 1947275 w 3140766"/>
              <a:gd name="csY9" fmla="*/ 1323439 h 1323439"/>
              <a:gd name="csX10" fmla="*/ 1287714 w 3140766"/>
              <a:gd name="csY10" fmla="*/ 1323439 h 1323439"/>
              <a:gd name="csX11" fmla="*/ 659561 w 3140766"/>
              <a:gd name="csY11" fmla="*/ 1323439 h 1323439"/>
              <a:gd name="csX12" fmla="*/ 0 w 3140766"/>
              <a:gd name="csY12" fmla="*/ 1323439 h 1323439"/>
              <a:gd name="csX13" fmla="*/ 0 w 3140766"/>
              <a:gd name="csY13" fmla="*/ 701423 h 1323439"/>
              <a:gd name="csX14" fmla="*/ 0 w 3140766"/>
              <a:gd name="csY14" fmla="*/ 0 h 13234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3140766" h="1323439" fill="none" extrusionOk="0">
                <a:moveTo>
                  <a:pt x="0" y="0"/>
                </a:moveTo>
                <a:cubicBezTo>
                  <a:pt x="235321" y="8665"/>
                  <a:pt x="404404" y="-27540"/>
                  <a:pt x="690969" y="0"/>
                </a:cubicBezTo>
                <a:cubicBezTo>
                  <a:pt x="977534" y="27540"/>
                  <a:pt x="1213994" y="14981"/>
                  <a:pt x="1350529" y="0"/>
                </a:cubicBezTo>
                <a:cubicBezTo>
                  <a:pt x="1487064" y="-14981"/>
                  <a:pt x="1657099" y="27056"/>
                  <a:pt x="1915867" y="0"/>
                </a:cubicBezTo>
                <a:cubicBezTo>
                  <a:pt x="2174635" y="-27056"/>
                  <a:pt x="2354509" y="-24893"/>
                  <a:pt x="2481205" y="0"/>
                </a:cubicBezTo>
                <a:cubicBezTo>
                  <a:pt x="2607901" y="24893"/>
                  <a:pt x="2830708" y="-27886"/>
                  <a:pt x="3140766" y="0"/>
                </a:cubicBezTo>
                <a:cubicBezTo>
                  <a:pt x="3122211" y="283150"/>
                  <a:pt x="3155484" y="487848"/>
                  <a:pt x="3140766" y="661720"/>
                </a:cubicBezTo>
                <a:cubicBezTo>
                  <a:pt x="3126048" y="835592"/>
                  <a:pt x="3151254" y="1129252"/>
                  <a:pt x="3140766" y="1323439"/>
                </a:cubicBezTo>
                <a:cubicBezTo>
                  <a:pt x="2980204" y="1342709"/>
                  <a:pt x="2780315" y="1313406"/>
                  <a:pt x="2512613" y="1323439"/>
                </a:cubicBezTo>
                <a:cubicBezTo>
                  <a:pt x="2244911" y="1333472"/>
                  <a:pt x="2136537" y="1313511"/>
                  <a:pt x="1947275" y="1323439"/>
                </a:cubicBezTo>
                <a:cubicBezTo>
                  <a:pt x="1758013" y="1333367"/>
                  <a:pt x="1494975" y="1351208"/>
                  <a:pt x="1287714" y="1323439"/>
                </a:cubicBezTo>
                <a:cubicBezTo>
                  <a:pt x="1080453" y="1295670"/>
                  <a:pt x="848661" y="1342890"/>
                  <a:pt x="659561" y="1323439"/>
                </a:cubicBezTo>
                <a:cubicBezTo>
                  <a:pt x="470461" y="1303988"/>
                  <a:pt x="289087" y="1343668"/>
                  <a:pt x="0" y="1323439"/>
                </a:cubicBezTo>
                <a:cubicBezTo>
                  <a:pt x="7013" y="1186220"/>
                  <a:pt x="14611" y="891764"/>
                  <a:pt x="0" y="701423"/>
                </a:cubicBezTo>
                <a:cubicBezTo>
                  <a:pt x="-14611" y="511082"/>
                  <a:pt x="-3322" y="277100"/>
                  <a:pt x="0" y="0"/>
                </a:cubicBezTo>
                <a:close/>
              </a:path>
              <a:path w="3140766" h="1323439" stroke="0" extrusionOk="0">
                <a:moveTo>
                  <a:pt x="0" y="0"/>
                </a:moveTo>
                <a:cubicBezTo>
                  <a:pt x="229265" y="-584"/>
                  <a:pt x="308896" y="9200"/>
                  <a:pt x="565338" y="0"/>
                </a:cubicBezTo>
                <a:cubicBezTo>
                  <a:pt x="821780" y="-9200"/>
                  <a:pt x="1012645" y="-18913"/>
                  <a:pt x="1193491" y="0"/>
                </a:cubicBezTo>
                <a:cubicBezTo>
                  <a:pt x="1374337" y="18913"/>
                  <a:pt x="1555984" y="8237"/>
                  <a:pt x="1758829" y="0"/>
                </a:cubicBezTo>
                <a:cubicBezTo>
                  <a:pt x="1961674" y="-8237"/>
                  <a:pt x="2142622" y="-26604"/>
                  <a:pt x="2449797" y="0"/>
                </a:cubicBezTo>
                <a:cubicBezTo>
                  <a:pt x="2756972" y="26604"/>
                  <a:pt x="2900334" y="4310"/>
                  <a:pt x="3140766" y="0"/>
                </a:cubicBezTo>
                <a:cubicBezTo>
                  <a:pt x="3152075" y="148001"/>
                  <a:pt x="3111729" y="377846"/>
                  <a:pt x="3140766" y="622016"/>
                </a:cubicBezTo>
                <a:cubicBezTo>
                  <a:pt x="3169803" y="866186"/>
                  <a:pt x="3161811" y="1050105"/>
                  <a:pt x="3140766" y="1323439"/>
                </a:cubicBezTo>
                <a:cubicBezTo>
                  <a:pt x="3025285" y="1326568"/>
                  <a:pt x="2839734" y="1325776"/>
                  <a:pt x="2575428" y="1323439"/>
                </a:cubicBezTo>
                <a:cubicBezTo>
                  <a:pt x="2311122" y="1321102"/>
                  <a:pt x="2113334" y="1351358"/>
                  <a:pt x="1884460" y="1323439"/>
                </a:cubicBezTo>
                <a:cubicBezTo>
                  <a:pt x="1655586" y="1295520"/>
                  <a:pt x="1504050" y="1337263"/>
                  <a:pt x="1350529" y="1323439"/>
                </a:cubicBezTo>
                <a:cubicBezTo>
                  <a:pt x="1197008" y="1309615"/>
                  <a:pt x="960292" y="1346789"/>
                  <a:pt x="816599" y="1323439"/>
                </a:cubicBezTo>
                <a:cubicBezTo>
                  <a:pt x="672906" y="1300090"/>
                  <a:pt x="383982" y="1331292"/>
                  <a:pt x="0" y="1323439"/>
                </a:cubicBezTo>
                <a:cubicBezTo>
                  <a:pt x="5470" y="1193668"/>
                  <a:pt x="20075" y="951462"/>
                  <a:pt x="0" y="688188"/>
                </a:cubicBezTo>
                <a:cubicBezTo>
                  <a:pt x="-20075" y="424914"/>
                  <a:pt x="17454" y="236410"/>
                  <a:pt x="0" y="0"/>
                </a:cubicBezTo>
                <a:close/>
              </a:path>
            </a:pathLst>
          </a:custGeom>
          <a:solidFill>
            <a:schemeClr val="accent2">
              <a:lumMod val="40000"/>
              <a:lumOff val="60000"/>
            </a:schemeClr>
          </a:solidFill>
          <a:ln>
            <a:solidFill>
              <a:schemeClr val="accent2">
                <a:lumMod val="75000"/>
              </a:schemeClr>
            </a:solidFill>
            <a:extLst>
              <a:ext uri="{C807C97D-BFC1-408E-A445-0C87EB9F89A2}">
                <ask:lineSketchStyleProps xmlns:ask="http://schemas.microsoft.com/office/drawing/2018/sketchyshapes" sd="3844312185">
                  <a:prstGeom prst="rect">
                    <a:avLst/>
                  </a:prstGeom>
                  <ask:type>
                    <ask:lineSketchFreehand/>
                  </ask:type>
                </ask:lineSketchStyleProps>
              </a:ext>
            </a:extLst>
          </a:ln>
        </p:spPr>
        <p:txBody>
          <a:bodyPr wrap="square">
            <a:spAutoFit/>
          </a:bodyPr>
          <a:lstStyle/>
          <a:p>
            <a:r>
              <a:rPr lang="en-US" sz="1600" dirty="0"/>
              <a:t>“The happiness, satisfaction and positivity we get from sharing our time in building next generation drives us to do more.”</a:t>
            </a:r>
          </a:p>
          <a:p>
            <a:r>
              <a:rPr lang="en-US" sz="1600" dirty="0"/>
              <a:t>- Teacher</a:t>
            </a:r>
          </a:p>
        </p:txBody>
      </p:sp>
      <p:sp>
        <p:nvSpPr>
          <p:cNvPr id="21" name="TextBox 20">
            <a:extLst>
              <a:ext uri="{FF2B5EF4-FFF2-40B4-BE49-F238E27FC236}">
                <a16:creationId xmlns:a16="http://schemas.microsoft.com/office/drawing/2014/main" id="{E5B54F34-21BE-EA3F-60BC-5B8C2F91AC05}"/>
              </a:ext>
            </a:extLst>
          </p:cNvPr>
          <p:cNvSpPr txBox="1"/>
          <p:nvPr/>
        </p:nvSpPr>
        <p:spPr>
          <a:xfrm>
            <a:off x="8077163" y="627773"/>
            <a:ext cx="3140766" cy="1569660"/>
          </a:xfrm>
          <a:custGeom>
            <a:avLst/>
            <a:gdLst>
              <a:gd name="csX0" fmla="*/ 0 w 3140766"/>
              <a:gd name="csY0" fmla="*/ 0 h 1569660"/>
              <a:gd name="csX1" fmla="*/ 460646 w 3140766"/>
              <a:gd name="csY1" fmla="*/ 0 h 1569660"/>
              <a:gd name="csX2" fmla="*/ 1015514 w 3140766"/>
              <a:gd name="csY2" fmla="*/ 0 h 1569660"/>
              <a:gd name="csX3" fmla="*/ 1507568 w 3140766"/>
              <a:gd name="csY3" fmla="*/ 0 h 1569660"/>
              <a:gd name="csX4" fmla="*/ 1968213 w 3140766"/>
              <a:gd name="csY4" fmla="*/ 0 h 1569660"/>
              <a:gd name="csX5" fmla="*/ 2523082 w 3140766"/>
              <a:gd name="csY5" fmla="*/ 0 h 1569660"/>
              <a:gd name="csX6" fmla="*/ 3140766 w 3140766"/>
              <a:gd name="csY6" fmla="*/ 0 h 1569660"/>
              <a:gd name="csX7" fmla="*/ 3140766 w 3140766"/>
              <a:gd name="csY7" fmla="*/ 523220 h 1569660"/>
              <a:gd name="csX8" fmla="*/ 3140766 w 3140766"/>
              <a:gd name="csY8" fmla="*/ 1015047 h 1569660"/>
              <a:gd name="csX9" fmla="*/ 3140766 w 3140766"/>
              <a:gd name="csY9" fmla="*/ 1569660 h 1569660"/>
              <a:gd name="csX10" fmla="*/ 2680120 w 3140766"/>
              <a:gd name="csY10" fmla="*/ 1569660 h 1569660"/>
              <a:gd name="csX11" fmla="*/ 2250882 w 3140766"/>
              <a:gd name="csY11" fmla="*/ 1569660 h 1569660"/>
              <a:gd name="csX12" fmla="*/ 1696014 w 3140766"/>
              <a:gd name="csY12" fmla="*/ 1569660 h 1569660"/>
              <a:gd name="csX13" fmla="*/ 1235368 w 3140766"/>
              <a:gd name="csY13" fmla="*/ 1569660 h 1569660"/>
              <a:gd name="csX14" fmla="*/ 680499 w 3140766"/>
              <a:gd name="csY14" fmla="*/ 1569660 h 1569660"/>
              <a:gd name="csX15" fmla="*/ 0 w 3140766"/>
              <a:gd name="csY15" fmla="*/ 1569660 h 1569660"/>
              <a:gd name="csX16" fmla="*/ 0 w 3140766"/>
              <a:gd name="csY16" fmla="*/ 1062137 h 1569660"/>
              <a:gd name="csX17" fmla="*/ 0 w 3140766"/>
              <a:gd name="csY17" fmla="*/ 523220 h 1569660"/>
              <a:gd name="csX18" fmla="*/ 0 w 3140766"/>
              <a:gd name="csY18" fmla="*/ 0 h 15696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3140766" h="1569660" fill="none" extrusionOk="0">
                <a:moveTo>
                  <a:pt x="0" y="0"/>
                </a:moveTo>
                <a:cubicBezTo>
                  <a:pt x="193825" y="-22167"/>
                  <a:pt x="232552" y="43618"/>
                  <a:pt x="460646" y="0"/>
                </a:cubicBezTo>
                <a:cubicBezTo>
                  <a:pt x="688740" y="-43618"/>
                  <a:pt x="806214" y="9594"/>
                  <a:pt x="1015514" y="0"/>
                </a:cubicBezTo>
                <a:cubicBezTo>
                  <a:pt x="1224814" y="-9594"/>
                  <a:pt x="1330710" y="32309"/>
                  <a:pt x="1507568" y="0"/>
                </a:cubicBezTo>
                <a:cubicBezTo>
                  <a:pt x="1684426" y="-32309"/>
                  <a:pt x="1844614" y="33634"/>
                  <a:pt x="1968213" y="0"/>
                </a:cubicBezTo>
                <a:cubicBezTo>
                  <a:pt x="2091812" y="-33634"/>
                  <a:pt x="2384435" y="11376"/>
                  <a:pt x="2523082" y="0"/>
                </a:cubicBezTo>
                <a:cubicBezTo>
                  <a:pt x="2661729" y="-11376"/>
                  <a:pt x="2870567" y="73383"/>
                  <a:pt x="3140766" y="0"/>
                </a:cubicBezTo>
                <a:cubicBezTo>
                  <a:pt x="3167043" y="158527"/>
                  <a:pt x="3130334" y="338871"/>
                  <a:pt x="3140766" y="523220"/>
                </a:cubicBezTo>
                <a:cubicBezTo>
                  <a:pt x="3151198" y="707569"/>
                  <a:pt x="3134758" y="878956"/>
                  <a:pt x="3140766" y="1015047"/>
                </a:cubicBezTo>
                <a:cubicBezTo>
                  <a:pt x="3146774" y="1151138"/>
                  <a:pt x="3135972" y="1396918"/>
                  <a:pt x="3140766" y="1569660"/>
                </a:cubicBezTo>
                <a:cubicBezTo>
                  <a:pt x="3046276" y="1584266"/>
                  <a:pt x="2853990" y="1519620"/>
                  <a:pt x="2680120" y="1569660"/>
                </a:cubicBezTo>
                <a:cubicBezTo>
                  <a:pt x="2506250" y="1619700"/>
                  <a:pt x="2439823" y="1541444"/>
                  <a:pt x="2250882" y="1569660"/>
                </a:cubicBezTo>
                <a:cubicBezTo>
                  <a:pt x="2061941" y="1597876"/>
                  <a:pt x="1944711" y="1567246"/>
                  <a:pt x="1696014" y="1569660"/>
                </a:cubicBezTo>
                <a:cubicBezTo>
                  <a:pt x="1447317" y="1572074"/>
                  <a:pt x="1331724" y="1567347"/>
                  <a:pt x="1235368" y="1569660"/>
                </a:cubicBezTo>
                <a:cubicBezTo>
                  <a:pt x="1139012" y="1571973"/>
                  <a:pt x="941841" y="1539838"/>
                  <a:pt x="680499" y="1569660"/>
                </a:cubicBezTo>
                <a:cubicBezTo>
                  <a:pt x="419157" y="1599482"/>
                  <a:pt x="138413" y="1488168"/>
                  <a:pt x="0" y="1569660"/>
                </a:cubicBezTo>
                <a:cubicBezTo>
                  <a:pt x="-12404" y="1386416"/>
                  <a:pt x="43548" y="1182028"/>
                  <a:pt x="0" y="1062137"/>
                </a:cubicBezTo>
                <a:cubicBezTo>
                  <a:pt x="-43548" y="942246"/>
                  <a:pt x="40592" y="782202"/>
                  <a:pt x="0" y="523220"/>
                </a:cubicBezTo>
                <a:cubicBezTo>
                  <a:pt x="-40592" y="264238"/>
                  <a:pt x="14817" y="107605"/>
                  <a:pt x="0" y="0"/>
                </a:cubicBezTo>
                <a:close/>
              </a:path>
              <a:path w="3140766" h="1569660" stroke="0" extrusionOk="0">
                <a:moveTo>
                  <a:pt x="0" y="0"/>
                </a:moveTo>
                <a:cubicBezTo>
                  <a:pt x="189017" y="-5946"/>
                  <a:pt x="267964" y="44658"/>
                  <a:pt x="492053" y="0"/>
                </a:cubicBezTo>
                <a:cubicBezTo>
                  <a:pt x="716142" y="-44658"/>
                  <a:pt x="803441" y="3602"/>
                  <a:pt x="921291" y="0"/>
                </a:cubicBezTo>
                <a:cubicBezTo>
                  <a:pt x="1039141" y="-3602"/>
                  <a:pt x="1386391" y="64825"/>
                  <a:pt x="1507568" y="0"/>
                </a:cubicBezTo>
                <a:cubicBezTo>
                  <a:pt x="1628745" y="-64825"/>
                  <a:pt x="1862243" y="2422"/>
                  <a:pt x="1999621" y="0"/>
                </a:cubicBezTo>
                <a:cubicBezTo>
                  <a:pt x="2136999" y="-2422"/>
                  <a:pt x="2261836" y="39217"/>
                  <a:pt x="2491674" y="0"/>
                </a:cubicBezTo>
                <a:cubicBezTo>
                  <a:pt x="2721512" y="-39217"/>
                  <a:pt x="2880651" y="20453"/>
                  <a:pt x="3140766" y="0"/>
                </a:cubicBezTo>
                <a:cubicBezTo>
                  <a:pt x="3150721" y="236919"/>
                  <a:pt x="3105179" y="283160"/>
                  <a:pt x="3140766" y="491827"/>
                </a:cubicBezTo>
                <a:cubicBezTo>
                  <a:pt x="3176353" y="700494"/>
                  <a:pt x="3095874" y="846551"/>
                  <a:pt x="3140766" y="1015047"/>
                </a:cubicBezTo>
                <a:cubicBezTo>
                  <a:pt x="3185658" y="1183543"/>
                  <a:pt x="3079196" y="1309366"/>
                  <a:pt x="3140766" y="1569660"/>
                </a:cubicBezTo>
                <a:cubicBezTo>
                  <a:pt x="3018789" y="1616546"/>
                  <a:pt x="2816300" y="1568023"/>
                  <a:pt x="2680120" y="1569660"/>
                </a:cubicBezTo>
                <a:cubicBezTo>
                  <a:pt x="2543940" y="1571297"/>
                  <a:pt x="2351483" y="1564516"/>
                  <a:pt x="2156659" y="1569660"/>
                </a:cubicBezTo>
                <a:cubicBezTo>
                  <a:pt x="1961835" y="1574804"/>
                  <a:pt x="1793318" y="1514871"/>
                  <a:pt x="1664606" y="1569660"/>
                </a:cubicBezTo>
                <a:cubicBezTo>
                  <a:pt x="1535894" y="1624449"/>
                  <a:pt x="1339641" y="1567581"/>
                  <a:pt x="1078330" y="1569660"/>
                </a:cubicBezTo>
                <a:cubicBezTo>
                  <a:pt x="817019" y="1571739"/>
                  <a:pt x="687605" y="1566590"/>
                  <a:pt x="492053" y="1569660"/>
                </a:cubicBezTo>
                <a:cubicBezTo>
                  <a:pt x="296501" y="1572730"/>
                  <a:pt x="147814" y="1548993"/>
                  <a:pt x="0" y="1569660"/>
                </a:cubicBezTo>
                <a:cubicBezTo>
                  <a:pt x="-25094" y="1356957"/>
                  <a:pt x="19689" y="1203706"/>
                  <a:pt x="0" y="1046440"/>
                </a:cubicBezTo>
                <a:cubicBezTo>
                  <a:pt x="-19689" y="889174"/>
                  <a:pt x="56431" y="742997"/>
                  <a:pt x="0" y="538917"/>
                </a:cubicBezTo>
                <a:cubicBezTo>
                  <a:pt x="-56431" y="334837"/>
                  <a:pt x="61039" y="163869"/>
                  <a:pt x="0" y="0"/>
                </a:cubicBezTo>
                <a:close/>
              </a:path>
            </a:pathLst>
          </a:custGeom>
          <a:solidFill>
            <a:schemeClr val="accent4">
              <a:lumMod val="60000"/>
              <a:lumOff val="40000"/>
            </a:schemeClr>
          </a:solidFill>
          <a:ln>
            <a:solidFill>
              <a:srgbClr val="F6A11A"/>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txBody>
          <a:bodyPr wrap="square">
            <a:spAutoFit/>
          </a:bodyPr>
          <a:lstStyle/>
          <a:p>
            <a:r>
              <a:rPr lang="en-US" sz="1600" dirty="0"/>
              <a:t>In Swat [region], as most girls are married at a very young age, </a:t>
            </a:r>
            <a:r>
              <a:rPr lang="en-US" sz="1600" dirty="0" err="1"/>
              <a:t>Laiba’s</a:t>
            </a:r>
            <a:r>
              <a:rPr lang="en-US" sz="1600" dirty="0"/>
              <a:t> mother became an exception when she decided to break the tradition of early marriages.</a:t>
            </a:r>
          </a:p>
          <a:p>
            <a:r>
              <a:rPr lang="en-US" sz="1600" strike="sngStrike" dirty="0"/>
              <a:t>-  </a:t>
            </a:r>
            <a:r>
              <a:rPr lang="en-US" sz="1600" dirty="0"/>
              <a:t>British council, Pakistan, 2020</a:t>
            </a:r>
            <a:endParaRPr lang="en-US" sz="1600" strike="sngStrike" dirty="0"/>
          </a:p>
        </p:txBody>
      </p:sp>
      <p:sp>
        <p:nvSpPr>
          <p:cNvPr id="22" name="TextBox 21">
            <a:extLst>
              <a:ext uri="{FF2B5EF4-FFF2-40B4-BE49-F238E27FC236}">
                <a16:creationId xmlns:a16="http://schemas.microsoft.com/office/drawing/2014/main" id="{E1FF3BE5-BB77-AB98-C213-D3F27FB513FD}"/>
              </a:ext>
            </a:extLst>
          </p:cNvPr>
          <p:cNvSpPr txBox="1"/>
          <p:nvPr/>
        </p:nvSpPr>
        <p:spPr>
          <a:xfrm>
            <a:off x="4225751" y="502166"/>
            <a:ext cx="3432312" cy="1323439"/>
          </a:xfrm>
          <a:custGeom>
            <a:avLst/>
            <a:gdLst>
              <a:gd name="csX0" fmla="*/ 0 w 3432312"/>
              <a:gd name="csY0" fmla="*/ 0 h 1323439"/>
              <a:gd name="csX1" fmla="*/ 652139 w 3432312"/>
              <a:gd name="csY1" fmla="*/ 0 h 1323439"/>
              <a:gd name="csX2" fmla="*/ 1304279 w 3432312"/>
              <a:gd name="csY2" fmla="*/ 0 h 1323439"/>
              <a:gd name="csX3" fmla="*/ 1887772 w 3432312"/>
              <a:gd name="csY3" fmla="*/ 0 h 1323439"/>
              <a:gd name="csX4" fmla="*/ 2608557 w 3432312"/>
              <a:gd name="csY4" fmla="*/ 0 h 1323439"/>
              <a:gd name="csX5" fmla="*/ 3432312 w 3432312"/>
              <a:gd name="csY5" fmla="*/ 0 h 1323439"/>
              <a:gd name="csX6" fmla="*/ 3432312 w 3432312"/>
              <a:gd name="csY6" fmla="*/ 635251 h 1323439"/>
              <a:gd name="csX7" fmla="*/ 3432312 w 3432312"/>
              <a:gd name="csY7" fmla="*/ 1323439 h 1323439"/>
              <a:gd name="csX8" fmla="*/ 2745850 w 3432312"/>
              <a:gd name="csY8" fmla="*/ 1323439 h 1323439"/>
              <a:gd name="csX9" fmla="*/ 2162357 w 3432312"/>
              <a:gd name="csY9" fmla="*/ 1323439 h 1323439"/>
              <a:gd name="csX10" fmla="*/ 1407248 w 3432312"/>
              <a:gd name="csY10" fmla="*/ 1323439 h 1323439"/>
              <a:gd name="csX11" fmla="*/ 789432 w 3432312"/>
              <a:gd name="csY11" fmla="*/ 1323439 h 1323439"/>
              <a:gd name="csX12" fmla="*/ 0 w 3432312"/>
              <a:gd name="csY12" fmla="*/ 1323439 h 1323439"/>
              <a:gd name="csX13" fmla="*/ 0 w 3432312"/>
              <a:gd name="csY13" fmla="*/ 688188 h 1323439"/>
              <a:gd name="csX14" fmla="*/ 0 w 3432312"/>
              <a:gd name="csY14" fmla="*/ 0 h 13234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3432312" h="1323439" fill="none" extrusionOk="0">
                <a:moveTo>
                  <a:pt x="0" y="0"/>
                </a:moveTo>
                <a:cubicBezTo>
                  <a:pt x="144635" y="-30292"/>
                  <a:pt x="498216" y="-6062"/>
                  <a:pt x="652139" y="0"/>
                </a:cubicBezTo>
                <a:cubicBezTo>
                  <a:pt x="806062" y="6062"/>
                  <a:pt x="1091937" y="27046"/>
                  <a:pt x="1304279" y="0"/>
                </a:cubicBezTo>
                <a:cubicBezTo>
                  <a:pt x="1516621" y="-27046"/>
                  <a:pt x="1693621" y="2212"/>
                  <a:pt x="1887772" y="0"/>
                </a:cubicBezTo>
                <a:cubicBezTo>
                  <a:pt x="2081923" y="-2212"/>
                  <a:pt x="2316195" y="-5966"/>
                  <a:pt x="2608557" y="0"/>
                </a:cubicBezTo>
                <a:cubicBezTo>
                  <a:pt x="2900920" y="5966"/>
                  <a:pt x="3033107" y="-8558"/>
                  <a:pt x="3432312" y="0"/>
                </a:cubicBezTo>
                <a:cubicBezTo>
                  <a:pt x="3452336" y="148648"/>
                  <a:pt x="3425213" y="433794"/>
                  <a:pt x="3432312" y="635251"/>
                </a:cubicBezTo>
                <a:cubicBezTo>
                  <a:pt x="3439411" y="836708"/>
                  <a:pt x="3401124" y="1003813"/>
                  <a:pt x="3432312" y="1323439"/>
                </a:cubicBezTo>
                <a:cubicBezTo>
                  <a:pt x="3141939" y="1311409"/>
                  <a:pt x="2914470" y="1295133"/>
                  <a:pt x="2745850" y="1323439"/>
                </a:cubicBezTo>
                <a:cubicBezTo>
                  <a:pt x="2577230" y="1351745"/>
                  <a:pt x="2299419" y="1331851"/>
                  <a:pt x="2162357" y="1323439"/>
                </a:cubicBezTo>
                <a:cubicBezTo>
                  <a:pt x="2025295" y="1315027"/>
                  <a:pt x="1780444" y="1303088"/>
                  <a:pt x="1407248" y="1323439"/>
                </a:cubicBezTo>
                <a:cubicBezTo>
                  <a:pt x="1034052" y="1343790"/>
                  <a:pt x="1079481" y="1339828"/>
                  <a:pt x="789432" y="1323439"/>
                </a:cubicBezTo>
                <a:cubicBezTo>
                  <a:pt x="499383" y="1307050"/>
                  <a:pt x="159582" y="1313781"/>
                  <a:pt x="0" y="1323439"/>
                </a:cubicBezTo>
                <a:cubicBezTo>
                  <a:pt x="-285" y="1023144"/>
                  <a:pt x="-11694" y="844962"/>
                  <a:pt x="0" y="688188"/>
                </a:cubicBezTo>
                <a:cubicBezTo>
                  <a:pt x="11694" y="531414"/>
                  <a:pt x="-30915" y="296031"/>
                  <a:pt x="0" y="0"/>
                </a:cubicBezTo>
                <a:close/>
              </a:path>
              <a:path w="3432312" h="1323439" stroke="0" extrusionOk="0">
                <a:moveTo>
                  <a:pt x="0" y="0"/>
                </a:moveTo>
                <a:cubicBezTo>
                  <a:pt x="199953" y="-27896"/>
                  <a:pt x="405298" y="-33893"/>
                  <a:pt x="755109" y="0"/>
                </a:cubicBezTo>
                <a:cubicBezTo>
                  <a:pt x="1104920" y="33893"/>
                  <a:pt x="1216195" y="8749"/>
                  <a:pt x="1441571" y="0"/>
                </a:cubicBezTo>
                <a:cubicBezTo>
                  <a:pt x="1666947" y="-8749"/>
                  <a:pt x="1866600" y="19785"/>
                  <a:pt x="2059387" y="0"/>
                </a:cubicBezTo>
                <a:cubicBezTo>
                  <a:pt x="2252174" y="-19785"/>
                  <a:pt x="2579110" y="843"/>
                  <a:pt x="2745850" y="0"/>
                </a:cubicBezTo>
                <a:cubicBezTo>
                  <a:pt x="2912590" y="-843"/>
                  <a:pt x="3097427" y="13742"/>
                  <a:pt x="3432312" y="0"/>
                </a:cubicBezTo>
                <a:cubicBezTo>
                  <a:pt x="3462029" y="182536"/>
                  <a:pt x="3438874" y="479547"/>
                  <a:pt x="3432312" y="674954"/>
                </a:cubicBezTo>
                <a:cubicBezTo>
                  <a:pt x="3425750" y="870361"/>
                  <a:pt x="3460124" y="1120695"/>
                  <a:pt x="3432312" y="1323439"/>
                </a:cubicBezTo>
                <a:cubicBezTo>
                  <a:pt x="3108515" y="1344770"/>
                  <a:pt x="3085535" y="1292331"/>
                  <a:pt x="2780173" y="1323439"/>
                </a:cubicBezTo>
                <a:cubicBezTo>
                  <a:pt x="2474811" y="1354547"/>
                  <a:pt x="2309396" y="1350905"/>
                  <a:pt x="2059387" y="1323439"/>
                </a:cubicBezTo>
                <a:cubicBezTo>
                  <a:pt x="1809378" y="1295973"/>
                  <a:pt x="1555049" y="1315129"/>
                  <a:pt x="1338602" y="1323439"/>
                </a:cubicBezTo>
                <a:cubicBezTo>
                  <a:pt x="1122155" y="1331749"/>
                  <a:pt x="952096" y="1302364"/>
                  <a:pt x="720786" y="1323439"/>
                </a:cubicBezTo>
                <a:cubicBezTo>
                  <a:pt x="489476" y="1344514"/>
                  <a:pt x="358938" y="1295907"/>
                  <a:pt x="0" y="1323439"/>
                </a:cubicBezTo>
                <a:cubicBezTo>
                  <a:pt x="-1428" y="1164448"/>
                  <a:pt x="-12347" y="916815"/>
                  <a:pt x="0" y="701423"/>
                </a:cubicBezTo>
                <a:cubicBezTo>
                  <a:pt x="12347" y="486031"/>
                  <a:pt x="13026" y="191227"/>
                  <a:pt x="0" y="0"/>
                </a:cubicBezTo>
                <a:close/>
              </a:path>
            </a:pathLst>
          </a:custGeom>
          <a:solidFill>
            <a:schemeClr val="accent6">
              <a:lumMod val="40000"/>
              <a:lumOff val="60000"/>
            </a:schemeClr>
          </a:solidFill>
          <a:ln>
            <a:solidFill>
              <a:schemeClr val="accent2">
                <a:lumMod val="75000"/>
              </a:schemeClr>
            </a:solidFill>
            <a:extLst>
              <a:ext uri="{C807C97D-BFC1-408E-A445-0C87EB9F89A2}">
                <ask:lineSketchStyleProps xmlns:ask="http://schemas.microsoft.com/office/drawing/2018/sketchyshapes" sd="57802033">
                  <a:prstGeom prst="rect">
                    <a:avLst/>
                  </a:prstGeom>
                  <ask:type>
                    <ask:lineSketchFreehand/>
                  </ask:type>
                </ask:lineSketchStyleProps>
              </a:ext>
            </a:extLst>
          </a:ln>
        </p:spPr>
        <p:txBody>
          <a:bodyPr wrap="square">
            <a:spAutoFit/>
          </a:bodyPr>
          <a:lstStyle/>
          <a:p>
            <a:r>
              <a:rPr lang="en-US" sz="1600" dirty="0"/>
              <a:t>“It is now my mission to ensure one day all the people in my village will have access to clean drinking water!”</a:t>
            </a:r>
          </a:p>
          <a:p>
            <a:r>
              <a:rPr lang="en-US" sz="1600" dirty="0"/>
              <a:t>- Student (after completing PBL project </a:t>
            </a:r>
            <a:r>
              <a:rPr lang="en-US" sz="1600" i="1" dirty="0"/>
              <a:t>“Water is Life”</a:t>
            </a:r>
            <a:r>
              <a:rPr lang="en-US" sz="1600" dirty="0"/>
              <a:t>)</a:t>
            </a:r>
          </a:p>
        </p:txBody>
      </p:sp>
    </p:spTree>
    <p:extLst>
      <p:ext uri="{BB962C8B-B14F-4D97-AF65-F5344CB8AC3E}">
        <p14:creationId xmlns:p14="http://schemas.microsoft.com/office/powerpoint/2010/main" val="2529090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a:extLst>
              <a:ext uri="{FF2B5EF4-FFF2-40B4-BE49-F238E27FC236}">
                <a16:creationId xmlns:a16="http://schemas.microsoft.com/office/drawing/2014/main" id="{47D8748D-F685-A28E-FD5A-F2A8B70438DC}"/>
              </a:ext>
            </a:extLst>
          </p:cNvPr>
          <p:cNvSpPr/>
          <p:nvPr/>
        </p:nvSpPr>
        <p:spPr>
          <a:xfrm>
            <a:off x="441435" y="4904471"/>
            <a:ext cx="11035862" cy="1477328"/>
          </a:xfrm>
          <a:custGeom>
            <a:avLst/>
            <a:gdLst>
              <a:gd name="csX0" fmla="*/ 0 w 11035862"/>
              <a:gd name="csY0" fmla="*/ 246226 h 1477328"/>
              <a:gd name="csX1" fmla="*/ 246226 w 11035862"/>
              <a:gd name="csY1" fmla="*/ 0 h 1477328"/>
              <a:gd name="csX2" fmla="*/ 10789636 w 11035862"/>
              <a:gd name="csY2" fmla="*/ 0 h 1477328"/>
              <a:gd name="csX3" fmla="*/ 11035862 w 11035862"/>
              <a:gd name="csY3" fmla="*/ 246226 h 1477328"/>
              <a:gd name="csX4" fmla="*/ 11035862 w 11035862"/>
              <a:gd name="csY4" fmla="*/ 1231102 h 1477328"/>
              <a:gd name="csX5" fmla="*/ 10789636 w 11035862"/>
              <a:gd name="csY5" fmla="*/ 1477328 h 1477328"/>
              <a:gd name="csX6" fmla="*/ 246226 w 11035862"/>
              <a:gd name="csY6" fmla="*/ 1477328 h 1477328"/>
              <a:gd name="csX7" fmla="*/ 0 w 11035862"/>
              <a:gd name="csY7" fmla="*/ 1231102 h 1477328"/>
              <a:gd name="csX8" fmla="*/ 0 w 11035862"/>
              <a:gd name="csY8" fmla="*/ 246226 h 14773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1035862" h="1477328" fill="none" extrusionOk="0">
                <a:moveTo>
                  <a:pt x="0" y="246226"/>
                </a:moveTo>
                <a:cubicBezTo>
                  <a:pt x="-13714" y="108021"/>
                  <a:pt x="118729" y="6944"/>
                  <a:pt x="246226" y="0"/>
                </a:cubicBezTo>
                <a:cubicBezTo>
                  <a:pt x="3935678" y="130954"/>
                  <a:pt x="7766770" y="43574"/>
                  <a:pt x="10789636" y="0"/>
                </a:cubicBezTo>
                <a:cubicBezTo>
                  <a:pt x="10934964" y="14388"/>
                  <a:pt x="11047579" y="124592"/>
                  <a:pt x="11035862" y="246226"/>
                </a:cubicBezTo>
                <a:cubicBezTo>
                  <a:pt x="11060693" y="694749"/>
                  <a:pt x="11038393" y="861681"/>
                  <a:pt x="11035862" y="1231102"/>
                </a:cubicBezTo>
                <a:cubicBezTo>
                  <a:pt x="11032080" y="1367710"/>
                  <a:pt x="10912175" y="1468049"/>
                  <a:pt x="10789636" y="1477328"/>
                </a:cubicBezTo>
                <a:cubicBezTo>
                  <a:pt x="7581605" y="1632525"/>
                  <a:pt x="1611887" y="1640348"/>
                  <a:pt x="246226" y="1477328"/>
                </a:cubicBezTo>
                <a:cubicBezTo>
                  <a:pt x="111659" y="1458124"/>
                  <a:pt x="-20153" y="1378857"/>
                  <a:pt x="0" y="1231102"/>
                </a:cubicBezTo>
                <a:cubicBezTo>
                  <a:pt x="-23186" y="801477"/>
                  <a:pt x="-58809" y="724215"/>
                  <a:pt x="0" y="246226"/>
                </a:cubicBezTo>
                <a:close/>
              </a:path>
              <a:path w="11035862" h="1477328" stroke="0" extrusionOk="0">
                <a:moveTo>
                  <a:pt x="0" y="246226"/>
                </a:moveTo>
                <a:cubicBezTo>
                  <a:pt x="-14920" y="101036"/>
                  <a:pt x="107969" y="852"/>
                  <a:pt x="246226" y="0"/>
                </a:cubicBezTo>
                <a:cubicBezTo>
                  <a:pt x="2799394" y="132882"/>
                  <a:pt x="9618804" y="-84951"/>
                  <a:pt x="10789636" y="0"/>
                </a:cubicBezTo>
                <a:cubicBezTo>
                  <a:pt x="10918652" y="6808"/>
                  <a:pt x="11033616" y="122653"/>
                  <a:pt x="11035862" y="246226"/>
                </a:cubicBezTo>
                <a:cubicBezTo>
                  <a:pt x="11071349" y="468813"/>
                  <a:pt x="11043695" y="858649"/>
                  <a:pt x="11035862" y="1231102"/>
                </a:cubicBezTo>
                <a:cubicBezTo>
                  <a:pt x="11056930" y="1369588"/>
                  <a:pt x="10928269" y="1471882"/>
                  <a:pt x="10789636" y="1477328"/>
                </a:cubicBezTo>
                <a:cubicBezTo>
                  <a:pt x="9257067" y="1564967"/>
                  <a:pt x="5292034" y="1404649"/>
                  <a:pt x="246226" y="1477328"/>
                </a:cubicBezTo>
                <a:cubicBezTo>
                  <a:pt x="107703" y="1453139"/>
                  <a:pt x="-13168" y="1385389"/>
                  <a:pt x="0" y="1231102"/>
                </a:cubicBezTo>
                <a:cubicBezTo>
                  <a:pt x="-56259" y="778876"/>
                  <a:pt x="-29258" y="389171"/>
                  <a:pt x="0" y="246226"/>
                </a:cubicBezTo>
                <a:close/>
              </a:path>
            </a:pathLst>
          </a:custGeom>
          <a:solidFill>
            <a:schemeClr val="accent2">
              <a:lumMod val="20000"/>
              <a:lumOff val="80000"/>
            </a:schemeClr>
          </a:solidFill>
          <a:ln>
            <a:solidFill>
              <a:schemeClr val="accent2">
                <a:lumMod val="75000"/>
              </a:schemeClr>
            </a:solidFill>
            <a:extLst>
              <a:ext uri="{C807C97D-BFC1-408E-A445-0C87EB9F89A2}">
                <ask:lineSketchStyleProps xmlns:ask="http://schemas.microsoft.com/office/drawing/2018/sketchyshapes" sd="1219033472">
                  <a:prstGeom prst="round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y daughter and I learned a lot of new concepts together in the days of lockdown. In the IFERB toolkit, the first project is about COVID-19 and it equipped us with authentic information that we were not aware of before. We trusted rumors/myths we had heard from people around us. Now, I along with my family members, read the IFERB toolkit and learn something new every day”</a:t>
            </a:r>
            <a:endParaRPr lang="en-QA"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107000"/>
              </a:lnSpc>
              <a:spcAft>
                <a:spcPts val="800"/>
              </a:spcAft>
              <a:buFont typeface="Symbol" pitchFamily="2" charset="2"/>
              <a:buChar char="-"/>
            </a:pPr>
            <a:r>
              <a:rPr lang="en-US" sz="1600" b="1"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arent, Pakistan</a:t>
            </a:r>
            <a:endParaRPr lang="en-QA" sz="160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8FE3A0CA-DA70-1A78-FD90-FD5D97B7E145}"/>
              </a:ext>
            </a:extLst>
          </p:cNvPr>
          <p:cNvSpPr/>
          <p:nvPr/>
        </p:nvSpPr>
        <p:spPr>
          <a:xfrm>
            <a:off x="-1" y="300636"/>
            <a:ext cx="3024555" cy="543425"/>
          </a:xfrm>
          <a:prstGeom prst="rect">
            <a:avLst/>
          </a:prstGeom>
          <a:solidFill>
            <a:schemeClr val="accent1">
              <a:lumMod val="60000"/>
              <a:lumOff val="40000"/>
            </a:schemeClr>
          </a:solidFill>
          <a:ln w="12700" cap="flat" cmpd="sng" algn="ctr">
            <a:solidFill>
              <a:schemeClr val="accent1"/>
            </a:solid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QA"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Possib</a:t>
            </a:r>
            <a:r>
              <a:rPr lang="en-QA" sz="2800" b="1" kern="0" dirty="0">
                <a:solidFill>
                  <a:schemeClr val="bg1"/>
                </a:solidFill>
                <a:latin typeface="Calibri" panose="020F0502020204030204" pitchFamily="34" charset="0"/>
                <a:cs typeface="Calibri" panose="020F0502020204030204" pitchFamily="34" charset="0"/>
              </a:rPr>
              <a:t>le Concerns</a:t>
            </a:r>
            <a:endParaRPr kumimoji="0" lang="en-US"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B9DF95C9-92D2-46E6-E50D-AF1A80C1669A}"/>
              </a:ext>
            </a:extLst>
          </p:cNvPr>
          <p:cNvSpPr txBox="1"/>
          <p:nvPr/>
        </p:nvSpPr>
        <p:spPr>
          <a:xfrm>
            <a:off x="3256579" y="199201"/>
            <a:ext cx="8537562" cy="1015663"/>
          </a:xfrm>
          <a:custGeom>
            <a:avLst/>
            <a:gdLst>
              <a:gd name="csX0" fmla="*/ 0 w 8537562"/>
              <a:gd name="csY0" fmla="*/ 0 h 1015663"/>
              <a:gd name="csX1" fmla="*/ 8537562 w 8537562"/>
              <a:gd name="csY1" fmla="*/ 0 h 1015663"/>
              <a:gd name="csX2" fmla="*/ 8537562 w 8537562"/>
              <a:gd name="csY2" fmla="*/ 1015663 h 1015663"/>
              <a:gd name="csX3" fmla="*/ 0 w 8537562"/>
              <a:gd name="csY3" fmla="*/ 1015663 h 1015663"/>
              <a:gd name="csX4" fmla="*/ 0 w 8537562"/>
              <a:gd name="csY4" fmla="*/ 0 h 1015663"/>
            </a:gdLst>
            <a:ahLst/>
            <a:cxnLst>
              <a:cxn ang="0">
                <a:pos x="csX0" y="csY0"/>
              </a:cxn>
              <a:cxn ang="0">
                <a:pos x="csX1" y="csY1"/>
              </a:cxn>
              <a:cxn ang="0">
                <a:pos x="csX2" y="csY2"/>
              </a:cxn>
              <a:cxn ang="0">
                <a:pos x="csX3" y="csY3"/>
              </a:cxn>
              <a:cxn ang="0">
                <a:pos x="csX4" y="csY4"/>
              </a:cxn>
            </a:cxnLst>
            <a:rect l="l" t="t" r="r" b="b"/>
            <a:pathLst>
              <a:path w="8537562" h="1015663" fill="none" extrusionOk="0">
                <a:moveTo>
                  <a:pt x="0" y="0"/>
                </a:moveTo>
                <a:cubicBezTo>
                  <a:pt x="1010728" y="-49533"/>
                  <a:pt x="5948869" y="-14809"/>
                  <a:pt x="8537562" y="0"/>
                </a:cubicBezTo>
                <a:cubicBezTo>
                  <a:pt x="8452314" y="249582"/>
                  <a:pt x="8618369" y="889491"/>
                  <a:pt x="8537562" y="1015663"/>
                </a:cubicBezTo>
                <a:cubicBezTo>
                  <a:pt x="4364625" y="967432"/>
                  <a:pt x="3684923" y="1100118"/>
                  <a:pt x="0" y="1015663"/>
                </a:cubicBezTo>
                <a:cubicBezTo>
                  <a:pt x="46534" y="691205"/>
                  <a:pt x="35510" y="501986"/>
                  <a:pt x="0" y="0"/>
                </a:cubicBezTo>
                <a:close/>
              </a:path>
              <a:path w="8537562" h="1015663" stroke="0" extrusionOk="0">
                <a:moveTo>
                  <a:pt x="0" y="0"/>
                </a:moveTo>
                <a:cubicBezTo>
                  <a:pt x="3595132" y="118645"/>
                  <a:pt x="4431797" y="116012"/>
                  <a:pt x="8537562" y="0"/>
                </a:cubicBezTo>
                <a:cubicBezTo>
                  <a:pt x="8506448" y="243736"/>
                  <a:pt x="8477332" y="806251"/>
                  <a:pt x="8537562" y="1015663"/>
                </a:cubicBezTo>
                <a:cubicBezTo>
                  <a:pt x="4952027" y="1150263"/>
                  <a:pt x="3844005" y="858467"/>
                  <a:pt x="0" y="1015663"/>
                </a:cubicBezTo>
                <a:cubicBezTo>
                  <a:pt x="-5118" y="569580"/>
                  <a:pt x="57277" y="186099"/>
                  <a:pt x="0" y="0"/>
                </a:cubicBezTo>
                <a:close/>
              </a:path>
            </a:pathLst>
          </a:custGeom>
          <a:solidFill>
            <a:schemeClr val="bg1"/>
          </a:solidFill>
          <a:ln>
            <a:solidFill>
              <a:schemeClr val="accent2"/>
            </a:solidFill>
            <a:extLst>
              <a:ext uri="{C807C97D-BFC1-408E-A445-0C87EB9F89A2}">
                <ask:lineSketchStyleProps xmlns:ask="http://schemas.microsoft.com/office/drawing/2018/sketchyshapes" sd="1219033472">
                  <a:prstGeom prst="rect">
                    <a:avLst/>
                  </a:prstGeom>
                  <ask:type>
                    <ask:lineSketchCurved/>
                  </ask:type>
                </ask:lineSketchStyleProps>
              </a:ext>
            </a:extLst>
          </a:ln>
        </p:spPr>
        <p:txBody>
          <a:bodyPr wrap="square" rtlCol="0">
            <a:spAutoFit/>
          </a:bodyPr>
          <a:lstStyle/>
          <a:p>
            <a:pPr marL="457200" indent="-457200">
              <a:buFontTx/>
              <a:buChar char="-"/>
            </a:pPr>
            <a:r>
              <a:rPr lang="en-GB" sz="2000" b="1">
                <a:latin typeface="Calibri" panose="020F0502020204030204" pitchFamily="34" charset="0"/>
                <a:cs typeface="Calibri" panose="020F0502020204030204" pitchFamily="34" charset="0"/>
              </a:rPr>
              <a:t>Projects are </a:t>
            </a:r>
            <a:r>
              <a:rPr lang="en-GB" sz="2000" b="1" dirty="0">
                <a:latin typeface="Calibri" panose="020F0502020204030204" pitchFamily="34" charset="0"/>
                <a:cs typeface="Calibri" panose="020F0502020204030204" pitchFamily="34" charset="0"/>
              </a:rPr>
              <a:t>just for fun, but not really instructive or worthwhile on an educational level.</a:t>
            </a:r>
          </a:p>
          <a:p>
            <a:pPr marL="457200" indent="-457200">
              <a:buFontTx/>
              <a:buChar char="-"/>
            </a:pPr>
            <a:r>
              <a:rPr lang="en-GB" sz="2000" b="1" dirty="0">
                <a:latin typeface="Calibri" panose="020F0502020204030204" pitchFamily="34" charset="0"/>
                <a:cs typeface="Calibri" panose="020F0502020204030204" pitchFamily="34" charset="0"/>
              </a:rPr>
              <a:t>PBL does not prepare students for standardized tests</a:t>
            </a:r>
            <a:endParaRPr lang="en-US" sz="2000" b="1" dirty="0">
              <a:latin typeface="Calibri" panose="020F0502020204030204" pitchFamily="34" charset="0"/>
              <a:cs typeface="Calibri" panose="020F0502020204030204" pitchFamily="34" charset="0"/>
            </a:endParaRPr>
          </a:p>
        </p:txBody>
      </p:sp>
      <p:graphicFrame>
        <p:nvGraphicFramePr>
          <p:cNvPr id="12" name="TextBox 1">
            <a:extLst>
              <a:ext uri="{FF2B5EF4-FFF2-40B4-BE49-F238E27FC236}">
                <a16:creationId xmlns:a16="http://schemas.microsoft.com/office/drawing/2014/main" id="{70AD246E-8770-3B30-18D3-C0B2445E14F0}"/>
              </a:ext>
            </a:extLst>
          </p:cNvPr>
          <p:cNvGraphicFramePr/>
          <p:nvPr>
            <p:extLst>
              <p:ext uri="{D42A27DB-BD31-4B8C-83A1-F6EECF244321}">
                <p14:modId xmlns:p14="http://schemas.microsoft.com/office/powerpoint/2010/main" val="1222542087"/>
              </p:ext>
            </p:extLst>
          </p:nvPr>
        </p:nvGraphicFramePr>
        <p:xfrm>
          <a:off x="1145375" y="2157818"/>
          <a:ext cx="9901250" cy="2542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Picture 14" descr="A picture containing text, vector graphics&#10;&#10;Description automatically generated">
            <a:extLst>
              <a:ext uri="{FF2B5EF4-FFF2-40B4-BE49-F238E27FC236}">
                <a16:creationId xmlns:a16="http://schemas.microsoft.com/office/drawing/2014/main" id="{7946F0F0-A01E-85F6-1D39-EA9236F88AD5}"/>
              </a:ext>
            </a:extLst>
          </p:cNvPr>
          <p:cNvPicPr>
            <a:picLocks noChangeAspect="1"/>
          </p:cNvPicPr>
          <p:nvPr/>
        </p:nvPicPr>
        <p:blipFill>
          <a:blip r:embed="rId8">
            <a:clrChange>
              <a:clrFrom>
                <a:srgbClr val="F9FAF8"/>
              </a:clrFrom>
              <a:clrTo>
                <a:srgbClr val="F9FAF8">
                  <a:alpha val="0"/>
                </a:srgbClr>
              </a:clrTo>
            </a:clrChange>
            <a:extLst>
              <a:ext uri="{28A0092B-C50C-407E-A947-70E740481C1C}">
                <a14:useLocalDpi xmlns:a14="http://schemas.microsoft.com/office/drawing/2010/main"/>
              </a:ext>
            </a:extLst>
          </a:blip>
          <a:stretch>
            <a:fillRect/>
          </a:stretch>
        </p:blipFill>
        <p:spPr>
          <a:xfrm>
            <a:off x="17615" y="1667578"/>
            <a:ext cx="1402080" cy="1374943"/>
          </a:xfrm>
          <a:prstGeom prst="rect">
            <a:avLst/>
          </a:prstGeom>
        </p:spPr>
      </p:pic>
      <p:pic>
        <p:nvPicPr>
          <p:cNvPr id="17" name="Picture 16" descr="A picture containing text, vector graphics&#10;&#10;Description automatically generated">
            <a:extLst>
              <a:ext uri="{FF2B5EF4-FFF2-40B4-BE49-F238E27FC236}">
                <a16:creationId xmlns:a16="http://schemas.microsoft.com/office/drawing/2014/main" id="{585D2BED-FCA2-912A-B358-8F35C8669E6D}"/>
              </a:ext>
            </a:extLst>
          </p:cNvPr>
          <p:cNvPicPr>
            <a:picLocks noChangeAspect="1"/>
          </p:cNvPicPr>
          <p:nvPr/>
        </p:nvPicPr>
        <p:blipFill>
          <a:blip r:embed="rId9">
            <a:clrChange>
              <a:clrFrom>
                <a:srgbClr val="F9FAF8"/>
              </a:clrFrom>
              <a:clrTo>
                <a:srgbClr val="F9FAF8">
                  <a:alpha val="0"/>
                </a:srgbClr>
              </a:clrTo>
            </a:clrChange>
            <a:extLst>
              <a:ext uri="{28A0092B-C50C-407E-A947-70E740481C1C}">
                <a14:useLocalDpi xmlns:a14="http://schemas.microsoft.com/office/drawing/2010/main"/>
              </a:ext>
            </a:extLst>
          </a:blip>
          <a:stretch>
            <a:fillRect/>
          </a:stretch>
        </p:blipFill>
        <p:spPr>
          <a:xfrm>
            <a:off x="7254240" y="1644650"/>
            <a:ext cx="1402080" cy="1374943"/>
          </a:xfrm>
          <a:prstGeom prst="rect">
            <a:avLst/>
          </a:prstGeom>
        </p:spPr>
      </p:pic>
      <p:pic>
        <p:nvPicPr>
          <p:cNvPr id="21" name="Picture 20">
            <a:extLst>
              <a:ext uri="{FF2B5EF4-FFF2-40B4-BE49-F238E27FC236}">
                <a16:creationId xmlns:a16="http://schemas.microsoft.com/office/drawing/2014/main" id="{1D3ABB56-52FA-5F2A-5F56-CC404F1DAAE4}"/>
              </a:ext>
            </a:extLst>
          </p:cNvPr>
          <p:cNvPicPr>
            <a:picLocks noChangeAspect="1"/>
          </p:cNvPicPr>
          <p:nvPr/>
        </p:nvPicPr>
        <p:blipFill>
          <a:blip r:embed="rId10">
            <a:clrChange>
              <a:clrFrom>
                <a:srgbClr val="F9FAF8"/>
              </a:clrFrom>
              <a:clrTo>
                <a:srgbClr val="F9FAF8">
                  <a:alpha val="0"/>
                </a:srgbClr>
              </a:clrTo>
            </a:clrChange>
            <a:extLst>
              <a:ext uri="{28A0092B-C50C-407E-A947-70E740481C1C}">
                <a14:useLocalDpi xmlns:a14="http://schemas.microsoft.com/office/drawing/2010/main"/>
              </a:ext>
            </a:extLst>
          </a:blip>
          <a:stretch>
            <a:fillRect/>
          </a:stretch>
        </p:blipFill>
        <p:spPr>
          <a:xfrm>
            <a:off x="4116419" y="1598382"/>
            <a:ext cx="1134328" cy="1374943"/>
          </a:xfrm>
          <a:prstGeom prst="rect">
            <a:avLst/>
          </a:prstGeom>
        </p:spPr>
      </p:pic>
    </p:spTree>
    <p:extLst>
      <p:ext uri="{BB962C8B-B14F-4D97-AF65-F5344CB8AC3E}">
        <p14:creationId xmlns:p14="http://schemas.microsoft.com/office/powerpoint/2010/main" val="2523901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mph" presetSubtype="0" fill="hold" grpId="0" nodeType="clickEffect">
                                  <p:stCondLst>
                                    <p:cond delay="0"/>
                                  </p:stCondLst>
                                  <p:iterate type="lt">
                                    <p:tmPct val="4000"/>
                                  </p:iterate>
                                  <p:childTnLst>
                                    <p:set>
                                      <p:cBhvr override="childStyle">
                                        <p:cTn id="6" dur="500" fill="hold"/>
                                        <p:tgtEl>
                                          <p:spTgt spid="5"/>
                                        </p:tgtEl>
                                        <p:attrNameLst>
                                          <p:attrName>style.textDecorationUnderline</p:attrName>
                                        </p:attrNameLst>
                                      </p:cBhvr>
                                      <p:to>
                                        <p:strVal val="tru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5" grpId="0" animBg="1"/>
      <p:bldGraphic spid="12"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nH63kFQFLIVH7BsvOlXl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22E0B8A-F7AF-0543-A92E-D66026343526}">
  <we:reference id="wa200002433" version="2.0.0.1" store="en-GB" storeType="OMEX"/>
  <we:alternateReferences>
    <we:reference id="wa200002433" version="2.0.0.1" store="WA20000243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7392</TotalTime>
  <Words>2125</Words>
  <Application>Microsoft Office PowerPoint</Application>
  <PresentationFormat>Widescreen</PresentationFormat>
  <Paragraphs>169</Paragraphs>
  <Slides>13</Slides>
  <Notes>9</Notes>
  <HiddenSlides>2</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PowerPoint Presentation</vt:lpstr>
      <vt:lpstr>PowerPoint Presentation</vt:lpstr>
      <vt:lpstr>PowerPoint Presentation</vt:lpstr>
      <vt:lpstr>What Is Project-Based Learning (PBL)?</vt:lpstr>
      <vt:lpstr>Why PBL?</vt:lpstr>
      <vt:lpstr>Is PBL effectiv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hvi Kanoria</dc:creator>
  <cp:lastModifiedBy>دعاء عون عوض  محيسن</cp:lastModifiedBy>
  <cp:revision>62</cp:revision>
  <dcterms:created xsi:type="dcterms:W3CDTF">2022-01-24T08:19:43Z</dcterms:created>
  <dcterms:modified xsi:type="dcterms:W3CDTF">2025-11-21T13:1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b46f0c7-1e5b-43db-99eb-3257df1e5bf6_Enabled">
    <vt:lpwstr>true</vt:lpwstr>
  </property>
  <property fmtid="{D5CDD505-2E9C-101B-9397-08002B2CF9AE}" pid="3" name="MSIP_Label_0b46f0c7-1e5b-43db-99eb-3257df1e5bf6_SetDate">
    <vt:lpwstr>2022-09-14T10:03:27Z</vt:lpwstr>
  </property>
  <property fmtid="{D5CDD505-2E9C-101B-9397-08002B2CF9AE}" pid="4" name="MSIP_Label_0b46f0c7-1e5b-43db-99eb-3257df1e5bf6_Method">
    <vt:lpwstr>Standard</vt:lpwstr>
  </property>
  <property fmtid="{D5CDD505-2E9C-101B-9397-08002B2CF9AE}" pid="5" name="MSIP_Label_0b46f0c7-1e5b-43db-99eb-3257df1e5bf6_Name">
    <vt:lpwstr>0b46f0c7-1e5b-43db-99eb-3257df1e5bf6</vt:lpwstr>
  </property>
  <property fmtid="{D5CDD505-2E9C-101B-9397-08002B2CF9AE}" pid="6" name="MSIP_Label_0b46f0c7-1e5b-43db-99eb-3257df1e5bf6_SiteId">
    <vt:lpwstr>2dcae639-d4a4-4454-82c7-592ab66fc7bd</vt:lpwstr>
  </property>
  <property fmtid="{D5CDD505-2E9C-101B-9397-08002B2CF9AE}" pid="7" name="MSIP_Label_0b46f0c7-1e5b-43db-99eb-3257df1e5bf6_ActionId">
    <vt:lpwstr>eefeb534-abe1-4f2e-bf73-64f7a25a0848</vt:lpwstr>
  </property>
  <property fmtid="{D5CDD505-2E9C-101B-9397-08002B2CF9AE}" pid="8" name="MSIP_Label_0b46f0c7-1e5b-43db-99eb-3257df1e5bf6_ContentBits">
    <vt:lpwstr>0</vt:lpwstr>
  </property>
</Properties>
</file>